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5.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6.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8.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9.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0.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1.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2.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3.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14.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5.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7.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18.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19.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20.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21.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22.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23.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24.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25.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26.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0"/>
  </p:notesMasterIdLst>
  <p:handoutMasterIdLst>
    <p:handoutMasterId r:id="rId41"/>
  </p:handoutMasterIdLst>
  <p:sldIdLst>
    <p:sldId id="256" r:id="rId2"/>
    <p:sldId id="265" r:id="rId3"/>
    <p:sldId id="266" r:id="rId4"/>
    <p:sldId id="325" r:id="rId5"/>
    <p:sldId id="313" r:id="rId6"/>
    <p:sldId id="324" r:id="rId7"/>
    <p:sldId id="312" r:id="rId8"/>
    <p:sldId id="314" r:id="rId9"/>
    <p:sldId id="318" r:id="rId10"/>
    <p:sldId id="267" r:id="rId11"/>
    <p:sldId id="273" r:id="rId12"/>
    <p:sldId id="286" r:id="rId13"/>
    <p:sldId id="287" r:id="rId14"/>
    <p:sldId id="288" r:id="rId15"/>
    <p:sldId id="289" r:id="rId16"/>
    <p:sldId id="290" r:id="rId17"/>
    <p:sldId id="291" r:id="rId18"/>
    <p:sldId id="292" r:id="rId19"/>
    <p:sldId id="322" r:id="rId20"/>
    <p:sldId id="296" r:id="rId21"/>
    <p:sldId id="297" r:id="rId22"/>
    <p:sldId id="274" r:id="rId23"/>
    <p:sldId id="293" r:id="rId24"/>
    <p:sldId id="294" r:id="rId25"/>
    <p:sldId id="295" r:id="rId26"/>
    <p:sldId id="276" r:id="rId27"/>
    <p:sldId id="299" r:id="rId28"/>
    <p:sldId id="300" r:id="rId29"/>
    <p:sldId id="316" r:id="rId30"/>
    <p:sldId id="268" r:id="rId31"/>
    <p:sldId id="305" r:id="rId32"/>
    <p:sldId id="306" r:id="rId33"/>
    <p:sldId id="307" r:id="rId34"/>
    <p:sldId id="308" r:id="rId35"/>
    <p:sldId id="309" r:id="rId36"/>
    <p:sldId id="317" r:id="rId37"/>
    <p:sldId id="261" r:id="rId38"/>
    <p:sldId id="260" r:id="rId39"/>
  </p:sldIdLst>
  <p:sldSz cx="12192000" cy="6858000"/>
  <p:notesSz cx="6950075" cy="9236075"/>
  <p:custShowLst>
    <p:custShow name="Format Guide Workshop" id="0">
      <p:sldLst/>
    </p:custShow>
  </p:custShowLst>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6323" autoAdjust="0"/>
  </p:normalViewPr>
  <p:slideViewPr>
    <p:cSldViewPr snapToGrid="0">
      <p:cViewPr>
        <p:scale>
          <a:sx n="78" d="100"/>
          <a:sy n="78" d="100"/>
        </p:scale>
        <p:origin x="72" y="23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5/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5/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28384645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502897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22173927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4088408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198814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36518228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1629628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3</a:t>
            </a:fld>
            <a:endParaRPr lang="en-US" dirty="0"/>
          </a:p>
        </p:txBody>
      </p:sp>
    </p:spTree>
    <p:extLst>
      <p:ext uri="{BB962C8B-B14F-4D97-AF65-F5344CB8AC3E}">
        <p14:creationId xmlns:p14="http://schemas.microsoft.com/office/powerpoint/2010/main" val="33477345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698045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782957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398149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28303698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210366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25108788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1</a:t>
            </a:fld>
            <a:endParaRPr lang="en-US" dirty="0"/>
          </a:p>
        </p:txBody>
      </p:sp>
    </p:spTree>
    <p:extLst>
      <p:ext uri="{BB962C8B-B14F-4D97-AF65-F5344CB8AC3E}">
        <p14:creationId xmlns:p14="http://schemas.microsoft.com/office/powerpoint/2010/main" val="3997480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 name="PlaceHolder 1"/>
          <p:cNvSpPr>
            <a:spLocks noGrp="1" noRot="1" noChangeAspect="1"/>
          </p:cNvSpPr>
          <p:nvPr>
            <p:ph type="sldImg"/>
          </p:nvPr>
        </p:nvSpPr>
        <p:spPr>
          <a:xfrm>
            <a:off x="157163" y="574675"/>
            <a:ext cx="6618287" cy="3722688"/>
          </a:xfrm>
          <a:prstGeom prst="rect">
            <a:avLst/>
          </a:prstGeom>
        </p:spPr>
      </p:sp>
      <p:sp>
        <p:nvSpPr>
          <p:cNvPr id="455" name="PlaceHolder 2"/>
          <p:cNvSpPr>
            <a:spLocks noGrp="1"/>
          </p:cNvSpPr>
          <p:nvPr>
            <p:ph type="body"/>
          </p:nvPr>
        </p:nvSpPr>
        <p:spPr>
          <a:xfrm>
            <a:off x="259560" y="4714560"/>
            <a:ext cx="6412680" cy="3768120"/>
          </a:xfrm>
          <a:prstGeom prst="rect">
            <a:avLst/>
          </a:prstGeom>
        </p:spPr>
        <p:txBody>
          <a:bodyPr lIns="92520" tIns="46080" rIns="92520" bIns="46080"/>
          <a:lstStyle/>
          <a:p>
            <a:endParaRPr lang="fr-FR" sz="2000" b="0" strike="noStrike" spc="-1" dirty="0">
              <a:latin typeface="Arial"/>
            </a:endParaRPr>
          </a:p>
        </p:txBody>
      </p:sp>
      <p:sp>
        <p:nvSpPr>
          <p:cNvPr id="456" name="CustomShape 3"/>
          <p:cNvSpPr/>
          <p:nvPr/>
        </p:nvSpPr>
        <p:spPr>
          <a:xfrm>
            <a:off x="3936600" y="8744040"/>
            <a:ext cx="2919240" cy="462600"/>
          </a:xfrm>
          <a:prstGeom prst="rect">
            <a:avLst/>
          </a:prstGeom>
          <a:noFill/>
          <a:ln>
            <a:noFill/>
          </a:ln>
        </p:spPr>
        <p:style>
          <a:lnRef idx="0">
            <a:scrgbClr r="0" g="0" b="0"/>
          </a:lnRef>
          <a:fillRef idx="0">
            <a:scrgbClr r="0" g="0" b="0"/>
          </a:fillRef>
          <a:effectRef idx="0">
            <a:scrgbClr r="0" g="0" b="0"/>
          </a:effectRef>
          <a:fontRef idx="minor"/>
        </p:style>
        <p:txBody>
          <a:bodyPr lIns="92520" tIns="46080" rIns="92520" bIns="46080" anchor="b"/>
          <a:lstStyle/>
          <a:p>
            <a:pPr algn="r">
              <a:lnSpc>
                <a:spcPct val="100000"/>
              </a:lnSpc>
            </a:pPr>
            <a:r>
              <a:rPr lang="fr-FR" sz="1400" b="0" strike="noStrike" spc="-1" dirty="0">
                <a:solidFill>
                  <a:srgbClr val="000000"/>
                </a:solidFill>
                <a:latin typeface="+mn-lt"/>
                <a:ea typeface="+mn-ea"/>
              </a:rPr>
              <a:t>Notes view: </a:t>
            </a:r>
            <a:fld id="{C5247940-A3C1-44E9-BB3F-535CD4F90E0A}" type="slidenum">
              <a:rPr lang="fr-FR" sz="1400" b="0" strike="noStrike" spc="-1">
                <a:solidFill>
                  <a:srgbClr val="000000"/>
                </a:solidFill>
                <a:latin typeface="+mn-lt"/>
                <a:ea typeface="+mn-ea"/>
              </a:rPr>
              <a:t>32</a:t>
            </a:fld>
            <a:endParaRPr lang="fr-FR" sz="1400" b="0" strike="noStrike" spc="-1" dirty="0">
              <a:latin typeface="Arial"/>
            </a:endParaRPr>
          </a:p>
        </p:txBody>
      </p:sp>
    </p:spTree>
    <p:extLst>
      <p:ext uri="{BB962C8B-B14F-4D97-AF65-F5344CB8AC3E}">
        <p14:creationId xmlns:p14="http://schemas.microsoft.com/office/powerpoint/2010/main" val="2340748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3</a:t>
            </a:fld>
            <a:endParaRPr lang="en-US" dirty="0"/>
          </a:p>
        </p:txBody>
      </p:sp>
    </p:spTree>
    <p:extLst>
      <p:ext uri="{BB962C8B-B14F-4D97-AF65-F5344CB8AC3E}">
        <p14:creationId xmlns:p14="http://schemas.microsoft.com/office/powerpoint/2010/main" val="14562630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4</a:t>
            </a:fld>
            <a:endParaRPr lang="en-US" dirty="0"/>
          </a:p>
        </p:txBody>
      </p:sp>
    </p:spTree>
    <p:extLst>
      <p:ext uri="{BB962C8B-B14F-4D97-AF65-F5344CB8AC3E}">
        <p14:creationId xmlns:p14="http://schemas.microsoft.com/office/powerpoint/2010/main" val="32128411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24620361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4078368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072084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500606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8160731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995511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3413340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98146295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0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5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2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6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2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7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4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6"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3.xml"/><Relationship Id="rId7" Type="http://schemas.openxmlformats.org/officeDocument/2006/relationships/image" Target="../media/image2.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slide" Target="slide19.xml"/><Relationship Id="rId3" Type="http://schemas.openxmlformats.org/officeDocument/2006/relationships/tags" Target="../tags/tag73.xml"/><Relationship Id="rId21" Type="http://schemas.openxmlformats.org/officeDocument/2006/relationships/slide" Target="slide10.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slide" Target="slide22.xml"/><Relationship Id="rId2" Type="http://schemas.openxmlformats.org/officeDocument/2006/relationships/tags" Target="../tags/tag72.xml"/><Relationship Id="rId16" Type="http://schemas.openxmlformats.org/officeDocument/2006/relationships/slide" Target="slide26.xml"/><Relationship Id="rId20" Type="http://schemas.openxmlformats.org/officeDocument/2006/relationships/image" Target="../media/image12.emf"/><Relationship Id="rId1" Type="http://schemas.openxmlformats.org/officeDocument/2006/relationships/vmlDrawing" Target="../drawings/vmlDrawing28.v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image" Target="../media/image11.emf"/><Relationship Id="rId5" Type="http://schemas.openxmlformats.org/officeDocument/2006/relationships/tags" Target="../tags/tag75.xml"/><Relationship Id="rId15" Type="http://schemas.openxmlformats.org/officeDocument/2006/relationships/slide" Target="slide30.xml"/><Relationship Id="rId23" Type="http://schemas.openxmlformats.org/officeDocument/2006/relationships/oleObject" Target="../embeddings/oleObject28.bin"/><Relationship Id="rId10" Type="http://schemas.openxmlformats.org/officeDocument/2006/relationships/tags" Target="../tags/tag80.xml"/><Relationship Id="rId19" Type="http://schemas.openxmlformats.org/officeDocument/2006/relationships/slide" Target="slide11.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slideLayout" Target="../slideLayouts/slideLayout38.xml"/><Relationship Id="rId22" Type="http://schemas.openxmlformats.org/officeDocument/2006/relationships/slide" Target="slide3.xml"/></Relationships>
</file>

<file path=ppt/slides/_rels/slide11.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slide" Target="slide30.xml"/><Relationship Id="rId18" Type="http://schemas.openxmlformats.org/officeDocument/2006/relationships/slide" Target="slide1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slideLayout" Target="../slideLayouts/slideLayout38.xml"/><Relationship Id="rId17" Type="http://schemas.openxmlformats.org/officeDocument/2006/relationships/image" Target="../media/image12.emf"/><Relationship Id="rId2" Type="http://schemas.openxmlformats.org/officeDocument/2006/relationships/tags" Target="../tags/tag85.xml"/><Relationship Id="rId16" Type="http://schemas.openxmlformats.org/officeDocument/2006/relationships/slide" Target="slide19.xml"/><Relationship Id="rId20" Type="http://schemas.openxmlformats.org/officeDocument/2006/relationships/slide" Target="slide3.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tags" Target="../tags/tag94.xml"/><Relationship Id="rId5" Type="http://schemas.openxmlformats.org/officeDocument/2006/relationships/tags" Target="../tags/tag88.xml"/><Relationship Id="rId15" Type="http://schemas.openxmlformats.org/officeDocument/2006/relationships/slide" Target="slide22.xml"/><Relationship Id="rId10" Type="http://schemas.openxmlformats.org/officeDocument/2006/relationships/tags" Target="../tags/tag93.xml"/><Relationship Id="rId19" Type="http://schemas.openxmlformats.org/officeDocument/2006/relationships/slide" Target="slide10.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slide" Target="slide26.xml"/></Relationships>
</file>

<file path=ppt/slides/_rels/slide12.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96.xml"/><Relationship Id="rId7" Type="http://schemas.openxmlformats.org/officeDocument/2006/relationships/oleObject" Target="../embeddings/oleObject29.bin"/><Relationship Id="rId2" Type="http://schemas.openxmlformats.org/officeDocument/2006/relationships/tags" Target="../tags/tag95.xml"/><Relationship Id="rId1" Type="http://schemas.openxmlformats.org/officeDocument/2006/relationships/vmlDrawing" Target="../drawings/vmlDrawing29.vml"/><Relationship Id="rId6" Type="http://schemas.openxmlformats.org/officeDocument/2006/relationships/notesSlide" Target="../notesSlides/notesSlide8.xml"/><Relationship Id="rId5" Type="http://schemas.openxmlformats.org/officeDocument/2006/relationships/slideLayout" Target="../slideLayouts/slideLayout9.xml"/><Relationship Id="rId4" Type="http://schemas.openxmlformats.org/officeDocument/2006/relationships/tags" Target="../tags/tag97.xml"/></Relationships>
</file>

<file path=ppt/slides/_rels/slide1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99.xml"/><Relationship Id="rId7" Type="http://schemas.openxmlformats.org/officeDocument/2006/relationships/oleObject" Target="../embeddings/oleObject30.bin"/><Relationship Id="rId2" Type="http://schemas.openxmlformats.org/officeDocument/2006/relationships/tags" Target="../tags/tag98.xml"/><Relationship Id="rId1" Type="http://schemas.openxmlformats.org/officeDocument/2006/relationships/vmlDrawing" Target="../drawings/vmlDrawing30.vml"/><Relationship Id="rId6" Type="http://schemas.openxmlformats.org/officeDocument/2006/relationships/notesSlide" Target="../notesSlides/notesSlide9.xml"/><Relationship Id="rId5" Type="http://schemas.openxmlformats.org/officeDocument/2006/relationships/slideLayout" Target="../slideLayouts/slideLayout9.xml"/><Relationship Id="rId4" Type="http://schemas.openxmlformats.org/officeDocument/2006/relationships/tags" Target="../tags/tag100.xml"/></Relationships>
</file>

<file path=ppt/slides/_rels/slide1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02.xml"/><Relationship Id="rId7" Type="http://schemas.openxmlformats.org/officeDocument/2006/relationships/oleObject" Target="../embeddings/oleObject31.bin"/><Relationship Id="rId2" Type="http://schemas.openxmlformats.org/officeDocument/2006/relationships/tags" Target="../tags/tag101.xml"/><Relationship Id="rId1" Type="http://schemas.openxmlformats.org/officeDocument/2006/relationships/vmlDrawing" Target="../drawings/vmlDrawing31.vml"/><Relationship Id="rId6" Type="http://schemas.openxmlformats.org/officeDocument/2006/relationships/notesSlide" Target="../notesSlides/notesSlide10.xml"/><Relationship Id="rId5" Type="http://schemas.openxmlformats.org/officeDocument/2006/relationships/slideLayout" Target="../slideLayouts/slideLayout9.xml"/><Relationship Id="rId4" Type="http://schemas.openxmlformats.org/officeDocument/2006/relationships/tags" Target="../tags/tag103.xml"/></Relationships>
</file>

<file path=ppt/slides/_rels/slide1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05.xml"/><Relationship Id="rId7" Type="http://schemas.openxmlformats.org/officeDocument/2006/relationships/oleObject" Target="../embeddings/oleObject32.bin"/><Relationship Id="rId2" Type="http://schemas.openxmlformats.org/officeDocument/2006/relationships/tags" Target="../tags/tag104.xml"/><Relationship Id="rId1" Type="http://schemas.openxmlformats.org/officeDocument/2006/relationships/vmlDrawing" Target="../drawings/vmlDrawing32.vml"/><Relationship Id="rId6" Type="http://schemas.openxmlformats.org/officeDocument/2006/relationships/notesSlide" Target="../notesSlides/notesSlide11.xml"/><Relationship Id="rId5" Type="http://schemas.openxmlformats.org/officeDocument/2006/relationships/slideLayout" Target="../slideLayouts/slideLayout9.xml"/><Relationship Id="rId4" Type="http://schemas.openxmlformats.org/officeDocument/2006/relationships/tags" Target="../tags/tag106.xml"/></Relationships>
</file>

<file path=ppt/slides/_rels/slide16.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08.xml"/><Relationship Id="rId7" Type="http://schemas.openxmlformats.org/officeDocument/2006/relationships/oleObject" Target="../embeddings/oleObject33.bin"/><Relationship Id="rId2" Type="http://schemas.openxmlformats.org/officeDocument/2006/relationships/tags" Target="../tags/tag107.xml"/><Relationship Id="rId1" Type="http://schemas.openxmlformats.org/officeDocument/2006/relationships/vmlDrawing" Target="../drawings/vmlDrawing33.vml"/><Relationship Id="rId6" Type="http://schemas.openxmlformats.org/officeDocument/2006/relationships/notesSlide" Target="../notesSlides/notesSlide12.xml"/><Relationship Id="rId5" Type="http://schemas.openxmlformats.org/officeDocument/2006/relationships/slideLayout" Target="../slideLayouts/slideLayout9.xml"/><Relationship Id="rId4" Type="http://schemas.openxmlformats.org/officeDocument/2006/relationships/tags" Target="../tags/tag109.xml"/></Relationships>
</file>

<file path=ppt/slides/_rels/slide17.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34.v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1.emf"/><Relationship Id="rId2" Type="http://schemas.openxmlformats.org/officeDocument/2006/relationships/tags" Target="../tags/tag112.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3.xml"/><Relationship Id="rId4"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slide" Target="slide30.xml"/><Relationship Id="rId18" Type="http://schemas.openxmlformats.org/officeDocument/2006/relationships/slide" Target="slide11.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slideLayout" Target="../slideLayouts/slideLayout38.xml"/><Relationship Id="rId17" Type="http://schemas.openxmlformats.org/officeDocument/2006/relationships/slide" Target="slide19.xml"/><Relationship Id="rId2" Type="http://schemas.openxmlformats.org/officeDocument/2006/relationships/tags" Target="../tags/tag115.xml"/><Relationship Id="rId16" Type="http://schemas.openxmlformats.org/officeDocument/2006/relationships/image" Target="../media/image12.emf"/><Relationship Id="rId20" Type="http://schemas.openxmlformats.org/officeDocument/2006/relationships/slide" Target="slide3.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 Target="slide22.xml"/><Relationship Id="rId10" Type="http://schemas.openxmlformats.org/officeDocument/2006/relationships/tags" Target="../tags/tag123.xml"/><Relationship Id="rId19" Type="http://schemas.openxmlformats.org/officeDocument/2006/relationships/slide" Target="slide10.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slide" Target="slide26.xml"/></Relationships>
</file>

<file path=ppt/slides/_rels/slide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slide" Target="slide30.xml"/><Relationship Id="rId18" Type="http://schemas.openxmlformats.org/officeDocument/2006/relationships/slide" Target="slide10.xml"/><Relationship Id="rId3" Type="http://schemas.openxmlformats.org/officeDocument/2006/relationships/tags" Target="../tags/tag35.xml"/><Relationship Id="rId21" Type="http://schemas.openxmlformats.org/officeDocument/2006/relationships/image" Target="../media/image11.emf"/><Relationship Id="rId7" Type="http://schemas.openxmlformats.org/officeDocument/2006/relationships/tags" Target="../tags/tag39.xml"/><Relationship Id="rId12" Type="http://schemas.openxmlformats.org/officeDocument/2006/relationships/slideLayout" Target="../slideLayouts/slideLayout38.xml"/><Relationship Id="rId17" Type="http://schemas.openxmlformats.org/officeDocument/2006/relationships/slide" Target="slide11.xml"/><Relationship Id="rId2" Type="http://schemas.openxmlformats.org/officeDocument/2006/relationships/tags" Target="../tags/tag34.xml"/><Relationship Id="rId16" Type="http://schemas.openxmlformats.org/officeDocument/2006/relationships/slide" Target="slide19.xml"/><Relationship Id="rId20"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slide" Target="slide22.xml"/><Relationship Id="rId10" Type="http://schemas.openxmlformats.org/officeDocument/2006/relationships/tags" Target="../tags/tag42.xml"/><Relationship Id="rId19" Type="http://schemas.openxmlformats.org/officeDocument/2006/relationships/slide" Target="slide3.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slide" Target="slide26.xml"/></Relationships>
</file>

<file path=ppt/slides/_rels/slide20.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26.xml"/><Relationship Id="rId7" Type="http://schemas.openxmlformats.org/officeDocument/2006/relationships/oleObject" Target="../embeddings/oleObject36.bin"/><Relationship Id="rId2" Type="http://schemas.openxmlformats.org/officeDocument/2006/relationships/tags" Target="../tags/tag125.xml"/><Relationship Id="rId1" Type="http://schemas.openxmlformats.org/officeDocument/2006/relationships/vmlDrawing" Target="../drawings/vmlDrawing36.vml"/><Relationship Id="rId6" Type="http://schemas.openxmlformats.org/officeDocument/2006/relationships/notesSlide" Target="../notesSlides/notesSlide14.xml"/><Relationship Id="rId5" Type="http://schemas.openxmlformats.org/officeDocument/2006/relationships/slideLayout" Target="../slideLayouts/slideLayout9.xml"/><Relationship Id="rId4" Type="http://schemas.openxmlformats.org/officeDocument/2006/relationships/tags" Target="../tags/tag127.xml"/></Relationships>
</file>

<file path=ppt/slides/_rels/slide2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29.xml"/><Relationship Id="rId7" Type="http://schemas.openxmlformats.org/officeDocument/2006/relationships/oleObject" Target="../embeddings/oleObject37.bin"/><Relationship Id="rId2" Type="http://schemas.openxmlformats.org/officeDocument/2006/relationships/tags" Target="../tags/tag128.xml"/><Relationship Id="rId1" Type="http://schemas.openxmlformats.org/officeDocument/2006/relationships/vmlDrawing" Target="../drawings/vmlDrawing37.vml"/><Relationship Id="rId6" Type="http://schemas.openxmlformats.org/officeDocument/2006/relationships/notesSlide" Target="../notesSlides/notesSlide15.xml"/><Relationship Id="rId5" Type="http://schemas.openxmlformats.org/officeDocument/2006/relationships/slideLayout" Target="../slideLayouts/slideLayout9.xml"/><Relationship Id="rId4" Type="http://schemas.openxmlformats.org/officeDocument/2006/relationships/tags" Target="../tags/tag130.xml"/></Relationships>
</file>

<file path=ppt/slides/_rels/slide22.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slide" Target="slide30.xml"/><Relationship Id="rId18" Type="http://schemas.openxmlformats.org/officeDocument/2006/relationships/slide" Target="slide11.xml"/><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slideLayout" Target="../slideLayouts/slideLayout38.xml"/><Relationship Id="rId17" Type="http://schemas.openxmlformats.org/officeDocument/2006/relationships/slide" Target="slide19.xml"/><Relationship Id="rId2" Type="http://schemas.openxmlformats.org/officeDocument/2006/relationships/tags" Target="../tags/tag132.xml"/><Relationship Id="rId16" Type="http://schemas.openxmlformats.org/officeDocument/2006/relationships/slide" Target="slide22.xml"/><Relationship Id="rId20" Type="http://schemas.openxmlformats.org/officeDocument/2006/relationships/slide" Target="slide3.xml"/><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tags" Target="../tags/tag141.xml"/><Relationship Id="rId5" Type="http://schemas.openxmlformats.org/officeDocument/2006/relationships/tags" Target="../tags/tag135.xml"/><Relationship Id="rId15" Type="http://schemas.openxmlformats.org/officeDocument/2006/relationships/image" Target="../media/image12.emf"/><Relationship Id="rId10" Type="http://schemas.openxmlformats.org/officeDocument/2006/relationships/tags" Target="../tags/tag140.xml"/><Relationship Id="rId19" Type="http://schemas.openxmlformats.org/officeDocument/2006/relationships/slide" Target="slide10.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slide" Target="slide26.xml"/></Relationships>
</file>

<file path=ppt/slides/_rels/slide2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43.xml"/><Relationship Id="rId7" Type="http://schemas.openxmlformats.org/officeDocument/2006/relationships/oleObject" Target="../embeddings/oleObject38.bin"/><Relationship Id="rId2" Type="http://schemas.openxmlformats.org/officeDocument/2006/relationships/tags" Target="../tags/tag142.xml"/><Relationship Id="rId1" Type="http://schemas.openxmlformats.org/officeDocument/2006/relationships/vmlDrawing" Target="../drawings/vmlDrawing38.vml"/><Relationship Id="rId6" Type="http://schemas.openxmlformats.org/officeDocument/2006/relationships/notesSlide" Target="../notesSlides/notesSlide16.xml"/><Relationship Id="rId5" Type="http://schemas.openxmlformats.org/officeDocument/2006/relationships/slideLayout" Target="../slideLayouts/slideLayout9.xml"/><Relationship Id="rId4" Type="http://schemas.openxmlformats.org/officeDocument/2006/relationships/tags" Target="../tags/tag144.xml"/></Relationships>
</file>

<file path=ppt/slides/_rels/slide2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46.xml"/><Relationship Id="rId7" Type="http://schemas.openxmlformats.org/officeDocument/2006/relationships/oleObject" Target="../embeddings/oleObject39.bin"/><Relationship Id="rId2" Type="http://schemas.openxmlformats.org/officeDocument/2006/relationships/tags" Target="../tags/tag145.xml"/><Relationship Id="rId1" Type="http://schemas.openxmlformats.org/officeDocument/2006/relationships/vmlDrawing" Target="../drawings/vmlDrawing39.vml"/><Relationship Id="rId6" Type="http://schemas.openxmlformats.org/officeDocument/2006/relationships/notesSlide" Target="../notesSlides/notesSlide17.xml"/><Relationship Id="rId5" Type="http://schemas.openxmlformats.org/officeDocument/2006/relationships/slideLayout" Target="../slideLayouts/slideLayout9.xml"/><Relationship Id="rId4" Type="http://schemas.openxmlformats.org/officeDocument/2006/relationships/tags" Target="../tags/tag147.xml"/></Relationships>
</file>

<file path=ppt/slides/_rels/slide2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49.xml"/><Relationship Id="rId7" Type="http://schemas.openxmlformats.org/officeDocument/2006/relationships/oleObject" Target="../embeddings/oleObject40.bin"/><Relationship Id="rId2" Type="http://schemas.openxmlformats.org/officeDocument/2006/relationships/tags" Target="../tags/tag148.xml"/><Relationship Id="rId1" Type="http://schemas.openxmlformats.org/officeDocument/2006/relationships/vmlDrawing" Target="../drawings/vmlDrawing40.vml"/><Relationship Id="rId6" Type="http://schemas.openxmlformats.org/officeDocument/2006/relationships/notesSlide" Target="../notesSlides/notesSlide18.xml"/><Relationship Id="rId5" Type="http://schemas.openxmlformats.org/officeDocument/2006/relationships/slideLayout" Target="../slideLayouts/slideLayout9.xml"/><Relationship Id="rId4" Type="http://schemas.openxmlformats.org/officeDocument/2006/relationships/tags" Target="../tags/tag150.xml"/></Relationships>
</file>

<file path=ppt/slides/_rels/slide26.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slide" Target="slide30.xml"/><Relationship Id="rId18" Type="http://schemas.openxmlformats.org/officeDocument/2006/relationships/slide" Target="slide11.xml"/><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slideLayout" Target="../slideLayouts/slideLayout38.xml"/><Relationship Id="rId17" Type="http://schemas.openxmlformats.org/officeDocument/2006/relationships/slide" Target="slide19.xml"/><Relationship Id="rId2" Type="http://schemas.openxmlformats.org/officeDocument/2006/relationships/tags" Target="../tags/tag152.xml"/><Relationship Id="rId16" Type="http://schemas.openxmlformats.org/officeDocument/2006/relationships/slide" Target="slide22.xml"/><Relationship Id="rId20" Type="http://schemas.openxmlformats.org/officeDocument/2006/relationships/slide" Target="slide3.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tags" Target="../tags/tag161.xml"/><Relationship Id="rId5" Type="http://schemas.openxmlformats.org/officeDocument/2006/relationships/tags" Target="../tags/tag155.xml"/><Relationship Id="rId15" Type="http://schemas.openxmlformats.org/officeDocument/2006/relationships/slide" Target="slide26.xml"/><Relationship Id="rId10" Type="http://schemas.openxmlformats.org/officeDocument/2006/relationships/tags" Target="../tags/tag160.xml"/><Relationship Id="rId19" Type="http://schemas.openxmlformats.org/officeDocument/2006/relationships/slide" Target="slide10.xml"/><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image" Target="../media/image12.emf"/></Relationships>
</file>

<file path=ppt/slides/_rels/slide2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63.xml"/><Relationship Id="rId7" Type="http://schemas.openxmlformats.org/officeDocument/2006/relationships/oleObject" Target="../embeddings/oleObject41.bin"/><Relationship Id="rId2" Type="http://schemas.openxmlformats.org/officeDocument/2006/relationships/tags" Target="../tags/tag162.xml"/><Relationship Id="rId1" Type="http://schemas.openxmlformats.org/officeDocument/2006/relationships/vmlDrawing" Target="../drawings/vmlDrawing41.vml"/><Relationship Id="rId6" Type="http://schemas.openxmlformats.org/officeDocument/2006/relationships/notesSlide" Target="../notesSlides/notesSlide19.xml"/><Relationship Id="rId5" Type="http://schemas.openxmlformats.org/officeDocument/2006/relationships/slideLayout" Target="../slideLayouts/slideLayout2.xml"/><Relationship Id="rId4" Type="http://schemas.openxmlformats.org/officeDocument/2006/relationships/tags" Target="../tags/tag164.xml"/></Relationships>
</file>

<file path=ppt/slides/_rels/slide2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66.xml"/><Relationship Id="rId7" Type="http://schemas.openxmlformats.org/officeDocument/2006/relationships/oleObject" Target="../embeddings/oleObject42.bin"/><Relationship Id="rId2" Type="http://schemas.openxmlformats.org/officeDocument/2006/relationships/tags" Target="../tags/tag165.xml"/><Relationship Id="rId1" Type="http://schemas.openxmlformats.org/officeDocument/2006/relationships/vmlDrawing" Target="../drawings/vmlDrawing42.vml"/><Relationship Id="rId6" Type="http://schemas.openxmlformats.org/officeDocument/2006/relationships/notesSlide" Target="../notesSlides/notesSlide20.xml"/><Relationship Id="rId5" Type="http://schemas.openxmlformats.org/officeDocument/2006/relationships/slideLayout" Target="../slideLayouts/slideLayout2.xml"/><Relationship Id="rId4" Type="http://schemas.openxmlformats.org/officeDocument/2006/relationships/tags" Target="../tags/tag167.xml"/></Relationships>
</file>

<file path=ppt/slides/_rels/slide2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69.xml"/><Relationship Id="rId7" Type="http://schemas.openxmlformats.org/officeDocument/2006/relationships/oleObject" Target="../embeddings/oleObject43.bin"/><Relationship Id="rId2" Type="http://schemas.openxmlformats.org/officeDocument/2006/relationships/tags" Target="../tags/tag168.xml"/><Relationship Id="rId1" Type="http://schemas.openxmlformats.org/officeDocument/2006/relationships/vmlDrawing" Target="../drawings/vmlDrawing43.vml"/><Relationship Id="rId6" Type="http://schemas.openxmlformats.org/officeDocument/2006/relationships/notesSlide" Target="../notesSlides/notesSlide21.xml"/><Relationship Id="rId5" Type="http://schemas.openxmlformats.org/officeDocument/2006/relationships/slideLayout" Target="../slideLayouts/slideLayout11.xml"/><Relationship Id="rId4" Type="http://schemas.openxmlformats.org/officeDocument/2006/relationships/tags" Target="../tags/tag170.xml"/><Relationship Id="rId9" Type="http://schemas.openxmlformats.org/officeDocument/2006/relationships/image" Target="../media/image14.jpg"/></Relationships>
</file>

<file path=ppt/slides/_rels/slide3.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slide" Target="slide19.xml"/><Relationship Id="rId3" Type="http://schemas.openxmlformats.org/officeDocument/2006/relationships/tags" Target="../tags/tag45.xml"/><Relationship Id="rId21" Type="http://schemas.openxmlformats.org/officeDocument/2006/relationships/image" Target="../media/image12.emf"/><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slide" Target="slide22.xml"/><Relationship Id="rId2" Type="http://schemas.openxmlformats.org/officeDocument/2006/relationships/tags" Target="../tags/tag44.xml"/><Relationship Id="rId16" Type="http://schemas.openxmlformats.org/officeDocument/2006/relationships/slide" Target="slide26.xml"/><Relationship Id="rId20" Type="http://schemas.openxmlformats.org/officeDocument/2006/relationships/slide" Target="slide10.xml"/><Relationship Id="rId1" Type="http://schemas.openxmlformats.org/officeDocument/2006/relationships/vmlDrawing" Target="../drawings/vmlDrawing21.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image" Target="../media/image11.emf"/><Relationship Id="rId5" Type="http://schemas.openxmlformats.org/officeDocument/2006/relationships/tags" Target="../tags/tag47.xml"/><Relationship Id="rId15" Type="http://schemas.openxmlformats.org/officeDocument/2006/relationships/slide" Target="slide30.xml"/><Relationship Id="rId23" Type="http://schemas.openxmlformats.org/officeDocument/2006/relationships/oleObject" Target="../embeddings/oleObject21.bin"/><Relationship Id="rId10" Type="http://schemas.openxmlformats.org/officeDocument/2006/relationships/tags" Target="../tags/tag52.xml"/><Relationship Id="rId19" Type="http://schemas.openxmlformats.org/officeDocument/2006/relationships/slide" Target="slide1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slideLayout" Target="../slideLayouts/slideLayout38.xml"/><Relationship Id="rId22" Type="http://schemas.openxmlformats.org/officeDocument/2006/relationships/slide" Target="slide3.xml"/></Relationships>
</file>

<file path=ppt/slides/_rels/slide3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12.emf"/><Relationship Id="rId18" Type="http://schemas.openxmlformats.org/officeDocument/2006/relationships/slide" Target="slide11.xml"/><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slideLayout" Target="../slideLayouts/slideLayout38.xml"/><Relationship Id="rId17" Type="http://schemas.openxmlformats.org/officeDocument/2006/relationships/slide" Target="slide19.xml"/><Relationship Id="rId2" Type="http://schemas.openxmlformats.org/officeDocument/2006/relationships/tags" Target="../tags/tag172.xml"/><Relationship Id="rId16" Type="http://schemas.openxmlformats.org/officeDocument/2006/relationships/slide" Target="slide22.xml"/><Relationship Id="rId20" Type="http://schemas.openxmlformats.org/officeDocument/2006/relationships/slide" Target="slide3.xml"/><Relationship Id="rId1" Type="http://schemas.openxmlformats.org/officeDocument/2006/relationships/tags" Target="../tags/tag171.xml"/><Relationship Id="rId6" Type="http://schemas.openxmlformats.org/officeDocument/2006/relationships/tags" Target="../tags/tag176.xml"/><Relationship Id="rId11" Type="http://schemas.openxmlformats.org/officeDocument/2006/relationships/tags" Target="../tags/tag181.xml"/><Relationship Id="rId5" Type="http://schemas.openxmlformats.org/officeDocument/2006/relationships/tags" Target="../tags/tag175.xml"/><Relationship Id="rId15" Type="http://schemas.openxmlformats.org/officeDocument/2006/relationships/slide" Target="slide26.xml"/><Relationship Id="rId10" Type="http://schemas.openxmlformats.org/officeDocument/2006/relationships/tags" Target="../tags/tag180.xml"/><Relationship Id="rId19" Type="http://schemas.openxmlformats.org/officeDocument/2006/relationships/slide" Target="slide10.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slide" Target="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83.xml"/><Relationship Id="rId7" Type="http://schemas.openxmlformats.org/officeDocument/2006/relationships/oleObject" Target="../embeddings/oleObject44.bin"/><Relationship Id="rId2" Type="http://schemas.openxmlformats.org/officeDocument/2006/relationships/tags" Target="../tags/tag182.xml"/><Relationship Id="rId1" Type="http://schemas.openxmlformats.org/officeDocument/2006/relationships/vmlDrawing" Target="../drawings/vmlDrawing44.vml"/><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tags" Target="../tags/tag184.xml"/></Relationships>
</file>

<file path=ppt/slides/_rels/slide3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86.xml"/><Relationship Id="rId7" Type="http://schemas.openxmlformats.org/officeDocument/2006/relationships/oleObject" Target="../embeddings/oleObject45.bin"/><Relationship Id="rId2" Type="http://schemas.openxmlformats.org/officeDocument/2006/relationships/tags" Target="../tags/tag185.xml"/><Relationship Id="rId1" Type="http://schemas.openxmlformats.org/officeDocument/2006/relationships/vmlDrawing" Target="../drawings/vmlDrawing45.vml"/><Relationship Id="rId6" Type="http://schemas.openxmlformats.org/officeDocument/2006/relationships/notesSlide" Target="../notesSlides/notesSlide23.xml"/><Relationship Id="rId5" Type="http://schemas.openxmlformats.org/officeDocument/2006/relationships/slideLayout" Target="../slideLayouts/slideLayout2.xml"/><Relationship Id="rId4" Type="http://schemas.openxmlformats.org/officeDocument/2006/relationships/tags" Target="../tags/tag187.xml"/></Relationships>
</file>

<file path=ppt/slides/_rels/slide33.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tags" Target="../tags/tag199.xml"/><Relationship Id="rId18" Type="http://schemas.openxmlformats.org/officeDocument/2006/relationships/image" Target="../media/image11.emf"/><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tags" Target="../tags/tag198.xml"/><Relationship Id="rId17" Type="http://schemas.openxmlformats.org/officeDocument/2006/relationships/oleObject" Target="../embeddings/oleObject46.bin"/><Relationship Id="rId2" Type="http://schemas.openxmlformats.org/officeDocument/2006/relationships/tags" Target="../tags/tag188.xml"/><Relationship Id="rId16" Type="http://schemas.openxmlformats.org/officeDocument/2006/relationships/notesSlide" Target="../notesSlides/notesSlide24.xml"/><Relationship Id="rId1" Type="http://schemas.openxmlformats.org/officeDocument/2006/relationships/vmlDrawing" Target="../drawings/vmlDrawing46.vml"/><Relationship Id="rId6" Type="http://schemas.openxmlformats.org/officeDocument/2006/relationships/tags" Target="../tags/tag192.xml"/><Relationship Id="rId11" Type="http://schemas.openxmlformats.org/officeDocument/2006/relationships/tags" Target="../tags/tag197.xml"/><Relationship Id="rId5" Type="http://schemas.openxmlformats.org/officeDocument/2006/relationships/tags" Target="../tags/tag191.xml"/><Relationship Id="rId15" Type="http://schemas.openxmlformats.org/officeDocument/2006/relationships/slideLayout" Target="../slideLayouts/slideLayout9.xml"/><Relationship Id="rId10" Type="http://schemas.openxmlformats.org/officeDocument/2006/relationships/tags" Target="../tags/tag196.xml"/><Relationship Id="rId19" Type="http://schemas.openxmlformats.org/officeDocument/2006/relationships/image" Target="../media/image15.emf"/><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tags" Target="../tags/tag200.xml"/></Relationships>
</file>

<file path=ppt/slides/_rels/slide3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202.xml"/><Relationship Id="rId7" Type="http://schemas.openxmlformats.org/officeDocument/2006/relationships/oleObject" Target="../embeddings/oleObject47.bin"/><Relationship Id="rId2" Type="http://schemas.openxmlformats.org/officeDocument/2006/relationships/tags" Target="../tags/tag201.xml"/><Relationship Id="rId1" Type="http://schemas.openxmlformats.org/officeDocument/2006/relationships/vmlDrawing" Target="../drawings/vmlDrawing47.vml"/><Relationship Id="rId6" Type="http://schemas.openxmlformats.org/officeDocument/2006/relationships/notesSlide" Target="../notesSlides/notesSlide25.xml"/><Relationship Id="rId5" Type="http://schemas.openxmlformats.org/officeDocument/2006/relationships/slideLayout" Target="../slideLayouts/slideLayout9.xml"/><Relationship Id="rId4" Type="http://schemas.openxmlformats.org/officeDocument/2006/relationships/tags" Target="../tags/tag203.xml"/><Relationship Id="rId9" Type="http://schemas.openxmlformats.org/officeDocument/2006/relationships/image" Target="../media/image16.png"/></Relationships>
</file>

<file path=ppt/slides/_rels/slide3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205.xml"/><Relationship Id="rId7" Type="http://schemas.openxmlformats.org/officeDocument/2006/relationships/oleObject" Target="../embeddings/oleObject48.bin"/><Relationship Id="rId2" Type="http://schemas.openxmlformats.org/officeDocument/2006/relationships/tags" Target="../tags/tag204.xml"/><Relationship Id="rId1" Type="http://schemas.openxmlformats.org/officeDocument/2006/relationships/vmlDrawing" Target="../drawings/vmlDrawing48.vml"/><Relationship Id="rId6" Type="http://schemas.openxmlformats.org/officeDocument/2006/relationships/notesSlide" Target="../notesSlides/notesSlide26.xml"/><Relationship Id="rId5" Type="http://schemas.openxmlformats.org/officeDocument/2006/relationships/slideLayout" Target="../slideLayouts/slideLayout9.xml"/><Relationship Id="rId4" Type="http://schemas.openxmlformats.org/officeDocument/2006/relationships/tags" Target="../tags/tag206.xml"/><Relationship Id="rId9" Type="http://schemas.openxmlformats.org/officeDocument/2006/relationships/image" Target="../media/image17.png"/></Relationships>
</file>

<file path=ppt/slides/_rels/slide3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08.xml"/><Relationship Id="rId7" Type="http://schemas.openxmlformats.org/officeDocument/2006/relationships/oleObject" Target="../embeddings/oleObject49.bin"/><Relationship Id="rId2" Type="http://schemas.openxmlformats.org/officeDocument/2006/relationships/tags" Target="../tags/tag207.xml"/><Relationship Id="rId1" Type="http://schemas.openxmlformats.org/officeDocument/2006/relationships/vmlDrawing" Target="../drawings/vmlDrawing49.vml"/><Relationship Id="rId6" Type="http://schemas.openxmlformats.org/officeDocument/2006/relationships/notesSlide" Target="../notesSlides/notesSlide27.xml"/><Relationship Id="rId5" Type="http://schemas.openxmlformats.org/officeDocument/2006/relationships/slideLayout" Target="../slideLayouts/slideLayout11.xml"/><Relationship Id="rId4" Type="http://schemas.openxmlformats.org/officeDocument/2006/relationships/tags" Target="../tags/tag209.xml"/><Relationship Id="rId9" Type="http://schemas.openxmlformats.org/officeDocument/2006/relationships/image" Target="../media/image14.jp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7.xml"/><Relationship Id="rId7" Type="http://schemas.openxmlformats.org/officeDocument/2006/relationships/oleObject" Target="../embeddings/oleObject22.bin"/><Relationship Id="rId2" Type="http://schemas.openxmlformats.org/officeDocument/2006/relationships/tags" Target="../tags/tag56.xml"/><Relationship Id="rId1" Type="http://schemas.openxmlformats.org/officeDocument/2006/relationships/vmlDrawing" Target="../drawings/vmlDrawing22.vml"/><Relationship Id="rId6" Type="http://schemas.openxmlformats.org/officeDocument/2006/relationships/notesSlide" Target="../notesSlides/notesSlide2.xml"/><Relationship Id="rId5" Type="http://schemas.openxmlformats.org/officeDocument/2006/relationships/slideLayout" Target="../slideLayouts/slideLayout2.xml"/><Relationship Id="rId4" Type="http://schemas.openxmlformats.org/officeDocument/2006/relationships/tags" Target="../tags/tag58.xml"/></Relationships>
</file>

<file path=ppt/slides/_rels/slide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0.xml"/><Relationship Id="rId7" Type="http://schemas.openxmlformats.org/officeDocument/2006/relationships/oleObject" Target="../embeddings/oleObject23.bin"/><Relationship Id="rId2" Type="http://schemas.openxmlformats.org/officeDocument/2006/relationships/tags" Target="../tags/tag59.xml"/><Relationship Id="rId1" Type="http://schemas.openxmlformats.org/officeDocument/2006/relationships/vmlDrawing" Target="../drawings/vmlDrawing23.vml"/><Relationship Id="rId6" Type="http://schemas.openxmlformats.org/officeDocument/2006/relationships/notesSlide" Target="../notesSlides/notesSlide3.xml"/><Relationship Id="rId5" Type="http://schemas.openxmlformats.org/officeDocument/2006/relationships/slideLayout" Target="../slideLayouts/slideLayout2.xml"/><Relationship Id="rId10" Type="http://schemas.openxmlformats.org/officeDocument/2006/relationships/hyperlink" Target="https://git.sourceai.io/swe-training/training-se" TargetMode="External"/><Relationship Id="rId4" Type="http://schemas.openxmlformats.org/officeDocument/2006/relationships/tags" Target="../tags/tag61.xml"/><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1.emf"/><Relationship Id="rId2" Type="http://schemas.openxmlformats.org/officeDocument/2006/relationships/tags" Target="../tags/tag62.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5.xml"/><Relationship Id="rId7" Type="http://schemas.openxmlformats.org/officeDocument/2006/relationships/oleObject" Target="../embeddings/oleObject25.bin"/><Relationship Id="rId2" Type="http://schemas.openxmlformats.org/officeDocument/2006/relationships/tags" Target="../tags/tag64.xml"/><Relationship Id="rId1" Type="http://schemas.openxmlformats.org/officeDocument/2006/relationships/vmlDrawing" Target="../drawings/vmlDrawing25.vml"/><Relationship Id="rId6" Type="http://schemas.openxmlformats.org/officeDocument/2006/relationships/notesSlide" Target="../notesSlides/notesSlide5.xml"/><Relationship Id="rId5" Type="http://schemas.openxmlformats.org/officeDocument/2006/relationships/slideLayout" Target="../slideLayouts/slideLayout11.xml"/><Relationship Id="rId4" Type="http://schemas.openxmlformats.org/officeDocument/2006/relationships/tags" Target="../tags/tag66.xml"/><Relationship Id="rId9" Type="http://schemas.openxmlformats.org/officeDocument/2006/relationships/image" Target="../media/image14.jpg"/></Relationships>
</file>

<file path=ppt/slides/_rels/slide8.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1.emf"/><Relationship Id="rId2" Type="http://schemas.openxmlformats.org/officeDocument/2006/relationships/tags" Target="../tags/tag6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70.xml"/><Relationship Id="rId7" Type="http://schemas.openxmlformats.org/officeDocument/2006/relationships/oleObject" Target="../embeddings/oleObject27.bin"/><Relationship Id="rId2" Type="http://schemas.openxmlformats.org/officeDocument/2006/relationships/tags" Target="../tags/tag69.xml"/><Relationship Id="rId1" Type="http://schemas.openxmlformats.org/officeDocument/2006/relationships/vmlDrawing" Target="../drawings/vmlDrawing27.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945907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8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n-US" dirty="0"/>
              <a:t>FEBRUARY 2020</a:t>
            </a:r>
          </a:p>
        </p:txBody>
      </p:sp>
      <p:sp>
        <p:nvSpPr>
          <p:cNvPr id="12" name="Subtitle 11"/>
          <p:cNvSpPr>
            <a:spLocks noGrp="1"/>
          </p:cNvSpPr>
          <p:nvPr>
            <p:ph type="subTitle" idx="1"/>
          </p:nvPr>
        </p:nvSpPr>
        <p:spPr/>
        <p:txBody>
          <a:bodyPr/>
          <a:lstStyle/>
          <a:p>
            <a:r>
              <a:rPr lang="en-US" dirty="0"/>
              <a:t>Software Engineering for Data Scientists</a:t>
            </a:r>
          </a:p>
        </p:txBody>
      </p:sp>
      <p:sp>
        <p:nvSpPr>
          <p:cNvPr id="11" name="Title 10"/>
          <p:cNvSpPr>
            <a:spLocks noGrp="1"/>
          </p:cNvSpPr>
          <p:nvPr>
            <p:ph type="ctrTitle"/>
          </p:nvPr>
        </p:nvSpPr>
        <p:spPr/>
        <p:txBody>
          <a:bodyPr/>
          <a:lstStyle/>
          <a:p>
            <a:r>
              <a:rPr lang="en-US" dirty="0"/>
              <a:t>Use Case 1</a:t>
            </a:r>
          </a:p>
        </p:txBody>
      </p:sp>
      <p:pic>
        <p:nvPicPr>
          <p:cNvPr id="7" name="Picture 12" descr="Résultat de recherche d'images pour &quot;python 3 icon&quo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00588" y="5427186"/>
            <a:ext cx="1218980" cy="1218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hlinkClick r:id="rId15" action="ppaction://hlinksldjump"/>
          </p:cNvPr>
          <p:cNvSpPr/>
          <p:nvPr>
            <p:custDataLst>
              <p:tags r:id="rId3"/>
            </p:custDataLst>
          </p:nvPr>
        </p:nvSpPr>
        <p:spPr>
          <a:xfrm>
            <a:off x="5166432" y="4164441"/>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Tests</a:t>
            </a:r>
          </a:p>
        </p:txBody>
      </p:sp>
      <p:sp>
        <p:nvSpPr>
          <p:cNvPr id="10" name="Rectangle 9">
            <a:hlinkClick r:id="rId16" action="ppaction://hlinksldjump"/>
          </p:cNvPr>
          <p:cNvSpPr/>
          <p:nvPr>
            <p:custDataLst>
              <p:tags r:id="rId4"/>
            </p:custDataLst>
          </p:nvPr>
        </p:nvSpPr>
        <p:spPr>
          <a:xfrm>
            <a:off x="5166432" y="384341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Built-in functions</a:t>
            </a:r>
          </a:p>
        </p:txBody>
      </p:sp>
      <p:sp>
        <p:nvSpPr>
          <p:cNvPr id="9" name="Rectangle 8">
            <a:hlinkClick r:id="rId17" action="ppaction://hlinksldjump"/>
          </p:cNvPr>
          <p:cNvSpPr/>
          <p:nvPr>
            <p:custDataLst>
              <p:tags r:id="rId5"/>
            </p:custDataLst>
          </p:nvPr>
        </p:nvSpPr>
        <p:spPr>
          <a:xfrm>
            <a:off x="5166432" y="360493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Data Encapsulation, Inheritance &amp; Polymorphism</a:t>
            </a:r>
          </a:p>
        </p:txBody>
      </p:sp>
      <p:sp>
        <p:nvSpPr>
          <p:cNvPr id="8" name="Rectangle 7">
            <a:hlinkClick r:id="rId18" action="ppaction://hlinksldjump"/>
          </p:cNvPr>
          <p:cNvSpPr/>
          <p:nvPr>
            <p:custDataLst>
              <p:tags r:id="rId6"/>
            </p:custDataLst>
          </p:nvPr>
        </p:nvSpPr>
        <p:spPr>
          <a:xfrm>
            <a:off x="5166432" y="336645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Property</a:t>
            </a:r>
          </a:p>
        </p:txBody>
      </p:sp>
      <p:sp>
        <p:nvSpPr>
          <p:cNvPr id="7" name="Rectangle 6">
            <a:hlinkClick r:id="rId19" action="ppaction://hlinksldjump"/>
          </p:cNvPr>
          <p:cNvSpPr/>
          <p:nvPr>
            <p:custDataLst>
              <p:tags r:id="rId7"/>
            </p:custDataLst>
          </p:nvPr>
        </p:nvSpPr>
        <p:spPr>
          <a:xfrm>
            <a:off x="5166432" y="312797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Class, Objects and Methods</a:t>
            </a:r>
          </a:p>
        </p:txBody>
      </p:sp>
      <p:sp>
        <p:nvSpPr>
          <p:cNvPr id="6" name="Oval 5"/>
          <p:cNvSpPr/>
          <p:nvPr>
            <p:custDataLst>
              <p:tags r:id="rId8"/>
            </p:custDataLst>
          </p:nvPr>
        </p:nvSpPr>
        <p:spPr>
          <a:xfrm>
            <a:off x="4714058" y="2805736"/>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Trebuchet MS" panose="020B0603020202020204" pitchFamily="34" charset="0"/>
            </a:endParaRPr>
          </a:p>
        </p:txBody>
      </p:sp>
      <p:pic>
        <p:nvPicPr>
          <p:cNvPr id="5" name="Picture 4"/>
          <p:cNvPicPr>
            <a:picLocks/>
          </p:cNvPicPr>
          <p:nvPr>
            <p:custDataLst>
              <p:tags r:id="rId9"/>
            </p:custDataLst>
          </p:nvPr>
        </p:nvPicPr>
        <p:blipFill>
          <a:blip r:embed="rId20">
            <a:extLst>
              <a:ext uri="{28A0092B-C50C-407E-A947-70E740481C1C}">
                <a14:useLocalDpi xmlns:a14="http://schemas.microsoft.com/office/drawing/2010/main" val="0"/>
              </a:ext>
            </a:extLst>
          </a:blip>
          <a:stretch>
            <a:fillRect/>
          </a:stretch>
        </p:blipFill>
        <p:spPr>
          <a:xfrm>
            <a:off x="4714058" y="2805736"/>
            <a:ext cx="293147" cy="292608"/>
          </a:xfrm>
          <a:prstGeom prst="rect">
            <a:avLst/>
          </a:prstGeom>
        </p:spPr>
      </p:pic>
      <p:sp>
        <p:nvSpPr>
          <p:cNvPr id="4" name="Rectangle 3">
            <a:hlinkClick r:id="rId21" action="ppaction://hlinksldjump"/>
          </p:cNvPr>
          <p:cNvSpPr/>
          <p:nvPr>
            <p:custDataLst>
              <p:tags r:id="rId10"/>
            </p:custDataLst>
          </p:nvPr>
        </p:nvSpPr>
        <p:spPr>
          <a:xfrm>
            <a:off x="5166432" y="2826910"/>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100000"/>
                  </a:schemeClr>
                </a:solidFill>
                <a:latin typeface="Trebuchet MS" panose="020B0603020202020204" pitchFamily="34" charset="0"/>
              </a:rPr>
              <a:t>OOP Fundamentals</a:t>
            </a:r>
          </a:p>
        </p:txBody>
      </p:sp>
      <p:sp>
        <p:nvSpPr>
          <p:cNvPr id="3" name="Rectangle 2">
            <a:hlinkClick r:id="rId22" action="ppaction://hlinksldjump"/>
          </p:cNvPr>
          <p:cNvSpPr/>
          <p:nvPr>
            <p:custDataLst>
              <p:tags r:id="rId11"/>
            </p:custDataLst>
          </p:nvPr>
        </p:nvSpPr>
        <p:spPr>
          <a:xfrm>
            <a:off x="5166432" y="2443299"/>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Use Cases Exercises (Reminder)</a:t>
            </a:r>
          </a:p>
        </p:txBody>
      </p:sp>
      <p:sp>
        <p:nvSpPr>
          <p:cNvPr id="2" name="Title 1"/>
          <p:cNvSpPr>
            <a:spLocks noGrp="1"/>
          </p:cNvSpPr>
          <p:nvPr>
            <p:ph type="title"/>
            <p:custDataLst>
              <p:tags r:id="rId12"/>
            </p:custDataLst>
          </p:nvPr>
        </p:nvSpPr>
        <p:spPr/>
        <p:txBody>
          <a:bodyPr/>
          <a:lstStyle/>
          <a:p>
            <a:r>
              <a:rPr lang="en-US"/>
              <a:t>Agenda</a:t>
            </a:r>
          </a:p>
        </p:txBody>
      </p:sp>
      <p:graphicFrame>
        <p:nvGraphicFramePr>
          <p:cNvPr id="29" name="Object 28" hidden="1"/>
          <p:cNvGraphicFramePr>
            <a:graphicFrameLocks noChangeAspect="1"/>
          </p:cNvGraphicFramePr>
          <p:nvPr>
            <p:custDataLst>
              <p:tags r:id="rId13"/>
            </p:custDataLst>
            <p:extLst>
              <p:ext uri="{D42A27DB-BD31-4B8C-83A1-F6EECF244321}">
                <p14:modId xmlns:p14="http://schemas.microsoft.com/office/powerpoint/2010/main" val="140092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20" name="think-cell Slide" r:id="rId23" imgW="473" imgH="473" progId="TCLayout.ActiveDocument.1">
                  <p:embed/>
                </p:oleObj>
              </mc:Choice>
              <mc:Fallback>
                <p:oleObj name="think-cell Slide" r:id="rId23" imgW="473" imgH="473"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667107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hlinkClick r:id="rId13" action="ppaction://hlinksldjump"/>
          </p:cNvPr>
          <p:cNvSpPr/>
          <p:nvPr>
            <p:custDataLst>
              <p:tags r:id="rId2"/>
            </p:custDataLst>
          </p:nvPr>
        </p:nvSpPr>
        <p:spPr>
          <a:xfrm>
            <a:off x="5166432" y="4164441"/>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Tests</a:t>
            </a:r>
          </a:p>
        </p:txBody>
      </p:sp>
      <p:sp>
        <p:nvSpPr>
          <p:cNvPr id="10" name="Rectangle 9">
            <a:hlinkClick r:id="rId14" action="ppaction://hlinksldjump"/>
          </p:cNvPr>
          <p:cNvSpPr/>
          <p:nvPr>
            <p:custDataLst>
              <p:tags r:id="rId3"/>
            </p:custDataLst>
          </p:nvPr>
        </p:nvSpPr>
        <p:spPr>
          <a:xfrm>
            <a:off x="5166432" y="384341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Built-in functions</a:t>
            </a:r>
          </a:p>
        </p:txBody>
      </p:sp>
      <p:sp>
        <p:nvSpPr>
          <p:cNvPr id="9" name="Rectangle 8">
            <a:hlinkClick r:id="rId15" action="ppaction://hlinksldjump"/>
          </p:cNvPr>
          <p:cNvSpPr/>
          <p:nvPr>
            <p:custDataLst>
              <p:tags r:id="rId4"/>
            </p:custDataLst>
          </p:nvPr>
        </p:nvSpPr>
        <p:spPr>
          <a:xfrm>
            <a:off x="5166432" y="360493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Data Encapsulation, Inheritance &amp; Polymorphism</a:t>
            </a:r>
          </a:p>
        </p:txBody>
      </p:sp>
      <p:sp>
        <p:nvSpPr>
          <p:cNvPr id="8" name="Rectangle 7">
            <a:hlinkClick r:id="rId16" action="ppaction://hlinksldjump"/>
          </p:cNvPr>
          <p:cNvSpPr/>
          <p:nvPr>
            <p:custDataLst>
              <p:tags r:id="rId5"/>
            </p:custDataLst>
          </p:nvPr>
        </p:nvSpPr>
        <p:spPr>
          <a:xfrm>
            <a:off x="5166432" y="336645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Property</a:t>
            </a:r>
          </a:p>
        </p:txBody>
      </p:sp>
      <p:sp>
        <p:nvSpPr>
          <p:cNvPr id="7" name="Oval 6"/>
          <p:cNvSpPr/>
          <p:nvPr>
            <p:custDataLst>
              <p:tags r:id="rId6"/>
            </p:custDataLst>
          </p:nvPr>
        </p:nvSpPr>
        <p:spPr>
          <a:xfrm>
            <a:off x="4714058" y="307550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Trebuchet MS" panose="020B0603020202020204" pitchFamily="34" charset="0"/>
            </a:endParaRPr>
          </a:p>
        </p:txBody>
      </p:sp>
      <p:pic>
        <p:nvPicPr>
          <p:cNvPr id="6" name="Picture 5"/>
          <p:cNvPicPr>
            <a:picLocks/>
          </p:cNvPicPr>
          <p:nvPr>
            <p:custDataLst>
              <p:tags r:id="rId7"/>
            </p:custDataLst>
          </p:nvPr>
        </p:nvPicPr>
        <p:blipFill>
          <a:blip r:embed="rId17">
            <a:extLst>
              <a:ext uri="{28A0092B-C50C-407E-A947-70E740481C1C}">
                <a14:useLocalDpi xmlns:a14="http://schemas.microsoft.com/office/drawing/2010/main" val="0"/>
              </a:ext>
            </a:extLst>
          </a:blip>
          <a:stretch>
            <a:fillRect/>
          </a:stretch>
        </p:blipFill>
        <p:spPr>
          <a:xfrm>
            <a:off x="4714058" y="3075507"/>
            <a:ext cx="293147" cy="292608"/>
          </a:xfrm>
          <a:prstGeom prst="rect">
            <a:avLst/>
          </a:prstGeom>
        </p:spPr>
      </p:pic>
      <p:sp>
        <p:nvSpPr>
          <p:cNvPr id="5" name="Rectangle 4">
            <a:hlinkClick r:id="rId18" action="ppaction://hlinksldjump"/>
          </p:cNvPr>
          <p:cNvSpPr/>
          <p:nvPr>
            <p:custDataLst>
              <p:tags r:id="rId8"/>
            </p:custDataLst>
          </p:nvPr>
        </p:nvSpPr>
        <p:spPr>
          <a:xfrm>
            <a:off x="5166432" y="312797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100000"/>
                  </a:schemeClr>
                </a:solidFill>
                <a:latin typeface="Trebuchet MS" panose="020B0603020202020204" pitchFamily="34" charset="0"/>
              </a:rPr>
              <a:t>Class, Objects and Methods</a:t>
            </a:r>
          </a:p>
        </p:txBody>
      </p:sp>
      <p:sp>
        <p:nvSpPr>
          <p:cNvPr id="4" name="Rectangle 3">
            <a:hlinkClick r:id="rId19" action="ppaction://hlinksldjump"/>
          </p:cNvPr>
          <p:cNvSpPr/>
          <p:nvPr>
            <p:custDataLst>
              <p:tags r:id="rId9"/>
            </p:custDataLst>
          </p:nvPr>
        </p:nvSpPr>
        <p:spPr>
          <a:xfrm>
            <a:off x="5166432" y="2826910"/>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OOP Fundamentals</a:t>
            </a:r>
          </a:p>
        </p:txBody>
      </p:sp>
      <p:sp>
        <p:nvSpPr>
          <p:cNvPr id="3" name="Rectangle 2">
            <a:hlinkClick r:id="rId20" action="ppaction://hlinksldjump"/>
          </p:cNvPr>
          <p:cNvSpPr/>
          <p:nvPr>
            <p:custDataLst>
              <p:tags r:id="rId10"/>
            </p:custDataLst>
          </p:nvPr>
        </p:nvSpPr>
        <p:spPr>
          <a:xfrm>
            <a:off x="5166432" y="2443299"/>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Use Cases Exercises (Reminder)</a:t>
            </a:r>
          </a:p>
        </p:txBody>
      </p:sp>
      <p:sp>
        <p:nvSpPr>
          <p:cNvPr id="2" name="Title 1"/>
          <p:cNvSpPr>
            <a:spLocks noGrp="1"/>
          </p:cNvSpPr>
          <p:nvPr>
            <p:ph type="title"/>
            <p:custDataLst>
              <p:tags r:id="rId11"/>
            </p:custDataLst>
          </p:nvPr>
        </p:nvSpPr>
        <p:spPr/>
        <p:txBody>
          <a:bodyPr/>
          <a:lstStyle/>
          <a:p>
            <a:r>
              <a:rPr lang="en-US"/>
              <a:t>Agenda</a:t>
            </a:r>
          </a:p>
        </p:txBody>
      </p:sp>
    </p:spTree>
    <p:custDataLst>
      <p:tags r:id="rId1"/>
    </p:custDataLst>
    <p:extLst>
      <p:ext uri="{BB962C8B-B14F-4D97-AF65-F5344CB8AC3E}">
        <p14:creationId xmlns:p14="http://schemas.microsoft.com/office/powerpoint/2010/main" val="3591472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12"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255787" y="1586932"/>
            <a:ext cx="3942000" cy="521713"/>
          </a:xfrm>
        </p:spPr>
        <p:txBody>
          <a:bodyPr/>
          <a:lstStyle/>
          <a:p>
            <a:pPr algn="ctr"/>
            <a:r>
              <a:rPr lang="en-US" dirty="0"/>
              <a:t>Class and Objects</a:t>
            </a:r>
          </a:p>
        </p:txBody>
      </p:sp>
      <p:sp>
        <p:nvSpPr>
          <p:cNvPr id="5" name="TextBox 4"/>
          <p:cNvSpPr txBox="1"/>
          <p:nvPr/>
        </p:nvSpPr>
        <p:spPr>
          <a:xfrm>
            <a:off x="553435" y="2026480"/>
            <a:ext cx="3511296" cy="440156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D4DF3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The concept of OOP focuses on creating </a:t>
            </a:r>
            <a:r>
              <a:rPr lang="en-US" sz="1600" dirty="0">
                <a:solidFill>
                  <a:srgbClr val="D4DF33"/>
                </a:solidFill>
              </a:rPr>
              <a:t>reusable code </a:t>
            </a:r>
            <a:r>
              <a:rPr lang="en-US" sz="1600" dirty="0">
                <a:solidFill>
                  <a:schemeClr val="bg1"/>
                </a:solidFill>
              </a:rPr>
              <a:t>by implementing objects to reduce code complexity</a:t>
            </a:r>
          </a:p>
          <a:p>
            <a:endParaRPr lang="en-US" sz="1600" dirty="0">
              <a:solidFill>
                <a:schemeClr val="bg1"/>
              </a:solidFill>
            </a:endParaRPr>
          </a:p>
          <a:p>
            <a:r>
              <a:rPr lang="en-US" sz="1600" dirty="0">
                <a:solidFill>
                  <a:schemeClr val="bg1"/>
                </a:solidFill>
              </a:rPr>
              <a:t>An </a:t>
            </a:r>
            <a:r>
              <a:rPr lang="en-US" sz="1600" dirty="0">
                <a:solidFill>
                  <a:srgbClr val="D4DF33"/>
                </a:solidFill>
              </a:rPr>
              <a:t>object</a:t>
            </a:r>
            <a:r>
              <a:rPr lang="en-US" sz="1600" dirty="0">
                <a:solidFill>
                  <a:schemeClr val="bg1"/>
                </a:solidFill>
              </a:rPr>
              <a:t> is an instantiation of a </a:t>
            </a:r>
            <a:r>
              <a:rPr lang="en-US" sz="1600" dirty="0">
                <a:solidFill>
                  <a:srgbClr val="D4DF33"/>
                </a:solidFill>
              </a:rPr>
              <a:t>class</a:t>
            </a:r>
            <a:r>
              <a:rPr lang="en-US" sz="1600" dirty="0">
                <a:solidFill>
                  <a:schemeClr val="bg1"/>
                </a:solidFill>
              </a:rPr>
              <a:t>. It has 2 characteristics :</a:t>
            </a:r>
          </a:p>
          <a:p>
            <a:pPr marL="266700" lvl="1" indent="-190500">
              <a:buFont typeface="Arial" panose="020B0604020202020204" pitchFamily="34" charset="0"/>
              <a:buChar char="•"/>
            </a:pPr>
            <a:r>
              <a:rPr lang="en-US" sz="1600" dirty="0">
                <a:solidFill>
                  <a:schemeClr val="bg1"/>
                </a:solidFill>
              </a:rPr>
              <a:t>Attributes</a:t>
            </a:r>
          </a:p>
          <a:p>
            <a:pPr marL="266700" lvl="1" indent="-180975">
              <a:buFont typeface="Arial" panose="020B0604020202020204" pitchFamily="34" charset="0"/>
              <a:buChar char="•"/>
            </a:pPr>
            <a:r>
              <a:rPr lang="en-US" sz="1600" dirty="0">
                <a:solidFill>
                  <a:schemeClr val="bg1"/>
                </a:solidFill>
              </a:rPr>
              <a:t>Behavior </a:t>
            </a:r>
          </a:p>
          <a:p>
            <a:pPr lvl="1"/>
            <a:endParaRPr lang="en-US" sz="1600" dirty="0">
              <a:solidFill>
                <a:schemeClr val="bg1"/>
              </a:solidFill>
            </a:endParaRPr>
          </a:p>
          <a:p>
            <a:r>
              <a:rPr lang="en-US" sz="1600" dirty="0">
                <a:solidFill>
                  <a:srgbClr val="D4DF33"/>
                </a:solidFill>
              </a:rPr>
              <a:t>self </a:t>
            </a:r>
            <a:r>
              <a:rPr lang="en-US" sz="1600" dirty="0">
                <a:solidFill>
                  <a:schemeClr val="bg1"/>
                </a:solidFill>
              </a:rPr>
              <a:t>represents the instance of the class. With this keyword we can access the attributes and methods of the instance of the class</a:t>
            </a:r>
          </a:p>
        </p:txBody>
      </p:sp>
      <p:sp>
        <p:nvSpPr>
          <p:cNvPr id="10" name="TextBox 9"/>
          <p:cNvSpPr txBox="1"/>
          <p:nvPr/>
        </p:nvSpPr>
        <p:spPr>
          <a:xfrm>
            <a:off x="4989778" y="4911065"/>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 :</a:t>
            </a:r>
          </a:p>
        </p:txBody>
      </p:sp>
      <p:sp>
        <p:nvSpPr>
          <p:cNvPr id="8" name="TextBox 7"/>
          <p:cNvSpPr txBox="1"/>
          <p:nvPr/>
        </p:nvSpPr>
        <p:spPr>
          <a:xfrm>
            <a:off x="5111699" y="1076325"/>
            <a:ext cx="6315075" cy="3543300"/>
          </a:xfrm>
          <a:prstGeom prst="rect">
            <a:avLst/>
          </a:prstGeom>
          <a:solidFill>
            <a:srgbClr val="FFFFFF"/>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Parro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 class attribut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pecies = </a:t>
            </a:r>
            <a:r>
              <a:rPr lang="fr-FR" sz="1100" dirty="0">
                <a:solidFill>
                  <a:srgbClr val="0000FF"/>
                </a:solidFill>
                <a:latin typeface="Consolas" panose="020B0609020204030204" pitchFamily="49" charset="0"/>
              </a:rPr>
              <a:t>"bird"</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 instance attribut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name, ag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name = 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age = ag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instantiate the Parrot clas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blu = Parrot(</a:t>
            </a:r>
            <a:r>
              <a:rPr lang="fr-FR" sz="1100" dirty="0">
                <a:solidFill>
                  <a:srgbClr val="0000FF"/>
                </a:solidFill>
                <a:latin typeface="Consolas" panose="020B0609020204030204" pitchFamily="49" charset="0"/>
              </a:rPr>
              <a:t>"Blu"</a:t>
            </a:r>
            <a:r>
              <a:rPr lang="fr-FR" sz="1100" dirty="0">
                <a:solidFill>
                  <a:srgbClr val="000000"/>
                </a:solidFill>
                <a:latin typeface="Consolas" panose="020B0609020204030204" pitchFamily="49" charset="0"/>
              </a:rPr>
              <a:t>, 10)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woo = Parrot(</a:t>
            </a:r>
            <a:r>
              <a:rPr lang="fr-FR" sz="1100" dirty="0">
                <a:solidFill>
                  <a:srgbClr val="0000FF"/>
                </a:solidFill>
                <a:latin typeface="Consolas" panose="020B0609020204030204" pitchFamily="49" charset="0"/>
              </a:rPr>
              <a:t>"Woo"</a:t>
            </a:r>
            <a:r>
              <a:rPr lang="fr-FR" sz="1100" dirty="0">
                <a:solidFill>
                  <a:srgbClr val="000000"/>
                </a:solidFill>
                <a:latin typeface="Consolas" panose="020B0609020204030204" pitchFamily="49" charset="0"/>
              </a:rPr>
              <a:t>, 15)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ccess the class attribute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Blu is a {}"</a:t>
            </a:r>
            <a:r>
              <a:rPr lang="fr-FR" sz="1100" dirty="0">
                <a:solidFill>
                  <a:srgbClr val="000000"/>
                </a:solidFill>
                <a:latin typeface="Consolas" panose="020B0609020204030204" pitchFamily="49" charset="0"/>
              </a:rPr>
              <a:t>.format(blu.__class__.species))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Woo is also a {}"</a:t>
            </a:r>
            <a:r>
              <a:rPr lang="fr-FR" sz="1100" dirty="0">
                <a:solidFill>
                  <a:srgbClr val="000000"/>
                </a:solidFill>
                <a:latin typeface="Consolas" panose="020B0609020204030204" pitchFamily="49" charset="0"/>
              </a:rPr>
              <a:t>.format(woo.__class__.species))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ccess the instance attribute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 is {} years old"</a:t>
            </a:r>
            <a:r>
              <a:rPr lang="fr-FR" sz="1100" dirty="0">
                <a:solidFill>
                  <a:srgbClr val="000000"/>
                </a:solidFill>
                <a:latin typeface="Consolas" panose="020B0609020204030204" pitchFamily="49" charset="0"/>
              </a:rPr>
              <a:t>.format(</a:t>
            </a:r>
            <a:r>
              <a:rPr lang="fr-FR" sz="1100" dirty="0" err="1">
                <a:solidFill>
                  <a:srgbClr val="000000"/>
                </a:solidFill>
                <a:latin typeface="Consolas" panose="020B0609020204030204" pitchFamily="49" charset="0"/>
              </a:rPr>
              <a:t>blu.name</a:t>
            </a:r>
            <a:r>
              <a:rPr lang="fr-FR" sz="1100" dirty="0">
                <a:solidFill>
                  <a:srgbClr val="000000"/>
                </a:solidFill>
                <a:latin typeface="Consolas" panose="020B0609020204030204" pitchFamily="49" charset="0"/>
              </a:rPr>
              <a:t>, blu.age))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 is {} years old"</a:t>
            </a:r>
            <a:r>
              <a:rPr lang="fr-FR" sz="1100" dirty="0">
                <a:solidFill>
                  <a:srgbClr val="000000"/>
                </a:solidFill>
                <a:latin typeface="Consolas" panose="020B0609020204030204" pitchFamily="49" charset="0"/>
              </a:rPr>
              <a:t>.format(</a:t>
            </a:r>
            <a:r>
              <a:rPr lang="fr-FR" sz="1100" dirty="0" err="1">
                <a:solidFill>
                  <a:srgbClr val="000000"/>
                </a:solidFill>
                <a:latin typeface="Consolas" panose="020B0609020204030204" pitchFamily="49" charset="0"/>
              </a:rPr>
              <a:t>woo.name</a:t>
            </a:r>
            <a:r>
              <a:rPr lang="fr-FR" sz="1100" dirty="0">
                <a:solidFill>
                  <a:srgbClr val="000000"/>
                </a:solidFill>
                <a:latin typeface="Consolas" panose="020B0609020204030204" pitchFamily="49" charset="0"/>
              </a:rPr>
              <a:t>, woo.age)) </a:t>
            </a:r>
            <a:endParaRPr lang="fr-FR" sz="1100" b="0" i="0" dirty="0">
              <a:solidFill>
                <a:srgbClr val="5C5C5C"/>
              </a:solidFill>
              <a:effectLst/>
              <a:latin typeface="Consolas" panose="020B0609020204030204" pitchFamily="49" charset="0"/>
            </a:endParaRPr>
          </a:p>
        </p:txBody>
      </p:sp>
      <p:sp>
        <p:nvSpPr>
          <p:cNvPr id="11" name="TextBox 10"/>
          <p:cNvSpPr txBox="1"/>
          <p:nvPr/>
        </p:nvSpPr>
        <p:spPr>
          <a:xfrm>
            <a:off x="5111699" y="5353740"/>
            <a:ext cx="2078476" cy="807348"/>
          </a:xfrm>
          <a:prstGeom prst="rect">
            <a:avLst/>
          </a:prstGeom>
          <a:solidFill>
            <a:schemeClr val="bg1"/>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err="1">
                <a:solidFill>
                  <a:srgbClr val="37373A"/>
                </a:solidFill>
                <a:latin typeface="Consolas" panose="020B0609020204030204" pitchFamily="49" charset="0"/>
              </a:rPr>
              <a:t>Blu</a:t>
            </a:r>
            <a:r>
              <a:rPr lang="en-US" sz="1200" dirty="0">
                <a:solidFill>
                  <a:srgbClr val="37373A"/>
                </a:solidFill>
                <a:latin typeface="Consolas" panose="020B0609020204030204" pitchFamily="49" charset="0"/>
              </a:rPr>
              <a:t> is a bird</a:t>
            </a:r>
          </a:p>
          <a:p>
            <a:r>
              <a:rPr lang="en-US" sz="1200" dirty="0">
                <a:solidFill>
                  <a:srgbClr val="37373A"/>
                </a:solidFill>
                <a:latin typeface="Consolas" panose="020B0609020204030204" pitchFamily="49" charset="0"/>
              </a:rPr>
              <a:t>Woo is also a bird</a:t>
            </a:r>
          </a:p>
          <a:p>
            <a:r>
              <a:rPr lang="en-US" sz="1200" dirty="0" err="1">
                <a:solidFill>
                  <a:srgbClr val="37373A"/>
                </a:solidFill>
                <a:latin typeface="Consolas" panose="020B0609020204030204" pitchFamily="49" charset="0"/>
              </a:rPr>
              <a:t>Blu</a:t>
            </a:r>
            <a:r>
              <a:rPr lang="en-US" sz="1200" dirty="0">
                <a:solidFill>
                  <a:srgbClr val="37373A"/>
                </a:solidFill>
                <a:latin typeface="Consolas" panose="020B0609020204030204" pitchFamily="49" charset="0"/>
              </a:rPr>
              <a:t> is 10 years old</a:t>
            </a:r>
          </a:p>
          <a:p>
            <a:r>
              <a:rPr lang="en-US" sz="1200" dirty="0">
                <a:solidFill>
                  <a:srgbClr val="37373A"/>
                </a:solidFill>
                <a:latin typeface="Consolas" panose="020B0609020204030204" pitchFamily="49" charset="0"/>
              </a:rPr>
              <a:t>Woo is 15 years old</a:t>
            </a:r>
          </a:p>
        </p:txBody>
      </p:sp>
    </p:spTree>
    <p:custDataLst>
      <p:tags r:id="rId2"/>
    </p:custDataLst>
    <p:extLst>
      <p:ext uri="{BB962C8B-B14F-4D97-AF65-F5344CB8AC3E}">
        <p14:creationId xmlns:p14="http://schemas.microsoft.com/office/powerpoint/2010/main" val="2010281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6"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218769" y="1563866"/>
            <a:ext cx="3942000" cy="704818"/>
          </a:xfrm>
        </p:spPr>
        <p:txBody>
          <a:bodyPr/>
          <a:lstStyle/>
          <a:p>
            <a:pPr algn="ctr"/>
            <a:r>
              <a:rPr lang="en-US" dirty="0"/>
              <a:t>Constructors</a:t>
            </a:r>
          </a:p>
        </p:txBody>
      </p:sp>
      <p:sp>
        <p:nvSpPr>
          <p:cNvPr id="5" name="TextBox 4"/>
          <p:cNvSpPr txBox="1"/>
          <p:nvPr/>
        </p:nvSpPr>
        <p:spPr>
          <a:xfrm>
            <a:off x="547560" y="2515572"/>
            <a:ext cx="3333621" cy="35917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sym typeface="Trebuchet MS" panose="020B0603020202020204" pitchFamily="34" charset="0"/>
              </a:rPr>
              <a:t>Constructors are used to build some attributes when a class is initialized</a:t>
            </a:r>
          </a:p>
          <a:p>
            <a:endParaRPr lang="en-US" sz="1600" dirty="0">
              <a:solidFill>
                <a:schemeClr val="bg1"/>
              </a:solidFill>
              <a:sym typeface="Trebuchet MS" panose="020B0603020202020204" pitchFamily="34" charset="0"/>
            </a:endParaRPr>
          </a:p>
          <a:p>
            <a:r>
              <a:rPr lang="en-US" sz="1600" dirty="0">
                <a:solidFill>
                  <a:schemeClr val="bg1"/>
                </a:solidFill>
                <a:sym typeface="Trebuchet MS" panose="020B0603020202020204" pitchFamily="34" charset="0"/>
              </a:rPr>
              <a:t>Their task is to </a:t>
            </a:r>
            <a:r>
              <a:rPr lang="en-US" sz="1600" dirty="0">
                <a:solidFill>
                  <a:schemeClr val="bg1"/>
                </a:solidFill>
              </a:rPr>
              <a:t>initialize (assign values) to the data members of the class when an object of class is created</a:t>
            </a:r>
          </a:p>
          <a:p>
            <a:endParaRPr lang="en-US" sz="1600" dirty="0">
              <a:solidFill>
                <a:schemeClr val="bg1"/>
              </a:solidFill>
            </a:endParaRPr>
          </a:p>
          <a:p>
            <a:r>
              <a:rPr lang="en-US" sz="1600" dirty="0">
                <a:solidFill>
                  <a:schemeClr val="bg1"/>
                </a:solidFill>
              </a:rPr>
              <a:t>In Python the </a:t>
            </a:r>
            <a:r>
              <a:rPr lang="en-US" sz="1600" dirty="0">
                <a:solidFill>
                  <a:srgbClr val="D4DF33"/>
                </a:solidFill>
              </a:rPr>
              <a:t>__init__()</a:t>
            </a:r>
            <a:r>
              <a:rPr lang="en-US" sz="1600" dirty="0">
                <a:solidFill>
                  <a:schemeClr val="bg1"/>
                </a:solidFill>
              </a:rPr>
              <a:t> method is called the constructor, and is always called when an object is created (but does not create the object)</a:t>
            </a:r>
          </a:p>
        </p:txBody>
      </p:sp>
      <p:sp>
        <p:nvSpPr>
          <p:cNvPr id="11" name="TextBox 10"/>
          <p:cNvSpPr txBox="1"/>
          <p:nvPr/>
        </p:nvSpPr>
        <p:spPr>
          <a:xfrm>
            <a:off x="4945693" y="5438970"/>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a:t>
            </a:r>
          </a:p>
        </p:txBody>
      </p:sp>
      <p:sp>
        <p:nvSpPr>
          <p:cNvPr id="6" name="Rectangle 5"/>
          <p:cNvSpPr/>
          <p:nvPr/>
        </p:nvSpPr>
        <p:spPr>
          <a:xfrm>
            <a:off x="5110738" y="2081213"/>
            <a:ext cx="4228289" cy="2970044"/>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GeekforGeek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geek = ""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default </a:t>
            </a:r>
            <a:r>
              <a:rPr lang="fr-FR" sz="1100" dirty="0" err="1">
                <a:solidFill>
                  <a:srgbClr val="008200"/>
                </a:solidFill>
                <a:latin typeface="Consolas" panose="020B0609020204030204" pitchFamily="49" charset="0"/>
              </a:rPr>
              <a:t>constructo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geek = </a:t>
            </a:r>
            <a:r>
              <a:rPr lang="fr-FR" sz="1100" dirty="0">
                <a:solidFill>
                  <a:srgbClr val="0000FF"/>
                </a:solidFill>
                <a:latin typeface="Consolas" panose="020B0609020204030204" pitchFamily="49" charset="0"/>
              </a:rPr>
              <a:t>"GeekforGeek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 a </a:t>
            </a:r>
            <a:r>
              <a:rPr lang="fr-FR" sz="1100" dirty="0" err="1">
                <a:solidFill>
                  <a:srgbClr val="008200"/>
                </a:solidFill>
                <a:latin typeface="Consolas" panose="020B0609020204030204" pitchFamily="49" charset="0"/>
              </a:rPr>
              <a:t>method</a:t>
            </a:r>
            <a:r>
              <a:rPr lang="fr-FR" sz="1100" dirty="0">
                <a:solidFill>
                  <a:srgbClr val="008200"/>
                </a:solidFill>
                <a:latin typeface="Consolas" panose="020B0609020204030204" pitchFamily="49" charset="0"/>
              </a:rPr>
              <a:t> for printing data </a:t>
            </a:r>
            <a:r>
              <a:rPr lang="fr-FR" sz="1100" dirty="0" err="1">
                <a:solidFill>
                  <a:srgbClr val="008200"/>
                </a:solidFill>
                <a:latin typeface="Consolas" panose="020B0609020204030204" pitchFamily="49" charset="0"/>
              </a:rPr>
              <a:t>member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print_Geek</a:t>
            </a:r>
            <a:r>
              <a:rPr lang="fr-FR" sz="1100" dirty="0">
                <a:solidFill>
                  <a:srgbClr val="000000"/>
                </a:solidFill>
                <a:latin typeface="Consolas" panose="020B0609020204030204" pitchFamily="49" charset="0"/>
              </a:rPr>
              <a:t>(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elf.geek</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en-US" sz="1100" dirty="0">
                <a:solidFill>
                  <a:srgbClr val="008200"/>
                </a:solidFill>
                <a:latin typeface="Consolas" panose="020B0609020204030204" pitchFamily="49" charset="0"/>
              </a:rPr>
              <a:t>creating</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objects</a:t>
            </a:r>
            <a:r>
              <a:rPr lang="fr-FR" sz="1100" dirty="0">
                <a:solidFill>
                  <a:srgbClr val="008200"/>
                </a:solidFill>
                <a:latin typeface="Consolas" panose="020B0609020204030204" pitchFamily="49" charset="0"/>
              </a:rPr>
              <a:t> of the clas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obj</a:t>
            </a:r>
            <a:r>
              <a:rPr lang="fr-FR" sz="1100" dirty="0">
                <a:solidFill>
                  <a:srgbClr val="000000"/>
                </a:solidFill>
                <a:latin typeface="Consolas" panose="020B0609020204030204" pitchFamily="49" charset="0"/>
              </a:rPr>
              <a:t> = GeekforGeeks()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calling</a:t>
            </a:r>
            <a:r>
              <a:rPr lang="fr-FR" sz="1100" dirty="0">
                <a:solidFill>
                  <a:srgbClr val="008200"/>
                </a:solidFill>
                <a:latin typeface="Consolas" panose="020B0609020204030204" pitchFamily="49" charset="0"/>
              </a:rPr>
              <a:t> the instance </a:t>
            </a:r>
            <a:r>
              <a:rPr lang="fr-FR" sz="1100" dirty="0" err="1">
                <a:solidFill>
                  <a:srgbClr val="008200"/>
                </a:solidFill>
                <a:latin typeface="Consolas" panose="020B0609020204030204" pitchFamily="49" charset="0"/>
              </a:rPr>
              <a:t>method</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using</a:t>
            </a:r>
            <a:r>
              <a:rPr lang="fr-FR" sz="1100" dirty="0">
                <a:solidFill>
                  <a:srgbClr val="008200"/>
                </a:solidFill>
                <a:latin typeface="Consolas" panose="020B0609020204030204" pitchFamily="49" charset="0"/>
              </a:rPr>
              <a:t> the </a:t>
            </a:r>
            <a:r>
              <a:rPr lang="fr-FR" sz="1100" dirty="0" err="1">
                <a:solidFill>
                  <a:srgbClr val="008200"/>
                </a:solidFill>
                <a:latin typeface="Consolas" panose="020B0609020204030204" pitchFamily="49" charset="0"/>
              </a:rPr>
              <a:t>object</a:t>
            </a:r>
            <a:r>
              <a:rPr lang="fr-FR" sz="1100" dirty="0">
                <a:solidFill>
                  <a:srgbClr val="008200"/>
                </a:solidFill>
                <a:latin typeface="Consolas" panose="020B0609020204030204" pitchFamily="49" charset="0"/>
              </a:rPr>
              <a:t> </a:t>
            </a:r>
            <a:r>
              <a:rPr lang="fr-FR" sz="1100" dirty="0" err="1">
                <a:solidFill>
                  <a:srgbClr val="008200"/>
                </a:solidFill>
                <a:latin typeface="Consolas" panose="020B0609020204030204" pitchFamily="49" charset="0"/>
              </a:rPr>
              <a:t>obj</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err="1">
                <a:solidFill>
                  <a:srgbClr val="000000"/>
                </a:solidFill>
                <a:latin typeface="Consolas" panose="020B0609020204030204" pitchFamily="49" charset="0"/>
              </a:rPr>
              <a:t>obj.print_Geek</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sp>
        <p:nvSpPr>
          <p:cNvPr id="13" name="TextBox 12"/>
          <p:cNvSpPr txBox="1"/>
          <p:nvPr/>
        </p:nvSpPr>
        <p:spPr>
          <a:xfrm>
            <a:off x="5110738" y="5860422"/>
            <a:ext cx="1352331" cy="300666"/>
          </a:xfrm>
          <a:prstGeom prst="rect">
            <a:avLst/>
          </a:prstGeom>
          <a:solidFill>
            <a:schemeClr val="bg1"/>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37373A"/>
                </a:solidFill>
                <a:latin typeface="Consolas" panose="020B0609020204030204" pitchFamily="49" charset="0"/>
              </a:rPr>
              <a:t>GeekforGeeks</a:t>
            </a:r>
          </a:p>
        </p:txBody>
      </p:sp>
    </p:spTree>
    <p:custDataLst>
      <p:tags r:id="rId2"/>
    </p:custDataLst>
    <p:extLst>
      <p:ext uri="{BB962C8B-B14F-4D97-AF65-F5344CB8AC3E}">
        <p14:creationId xmlns:p14="http://schemas.microsoft.com/office/powerpoint/2010/main" val="4001606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60"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140790" y="1299097"/>
            <a:ext cx="3073562" cy="886542"/>
          </a:xfrm>
        </p:spPr>
        <p:txBody>
          <a:bodyPr/>
          <a:lstStyle/>
          <a:p>
            <a:pPr algn="ctr"/>
            <a:r>
              <a:rPr lang="en-US" dirty="0"/>
              <a:t>Instance Methods</a:t>
            </a:r>
          </a:p>
        </p:txBody>
      </p:sp>
      <p:sp>
        <p:nvSpPr>
          <p:cNvPr id="5" name="TextBox 4"/>
          <p:cNvSpPr txBox="1"/>
          <p:nvPr/>
        </p:nvSpPr>
        <p:spPr>
          <a:xfrm>
            <a:off x="471883" y="1911253"/>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dirty="0">
                <a:solidFill>
                  <a:srgbClr val="FFFFFF"/>
                </a:solidFill>
                <a:latin typeface="Trebuchet MS" panose="020B0603020202020204" pitchFamily="34" charset="0"/>
              </a:rPr>
              <a:t>Methods are functions defined inside the body of a class</a:t>
            </a:r>
          </a:p>
          <a:p>
            <a:pPr marL="324000" lvl="1" indent="-216000">
              <a:buClr>
                <a:schemeClr val="tx2">
                  <a:lumMod val="100000"/>
                </a:schemeClr>
              </a:buClr>
              <a:buSzPct val="100000"/>
              <a:buFont typeface="Trebuchet MS" panose="020B0603020202020204" pitchFamily="34" charset="0"/>
              <a:buChar char="•"/>
            </a:pPr>
            <a:endParaRPr lang="en-US" dirty="0">
              <a:solidFill>
                <a:srgbClr val="FFFFFF"/>
              </a:solidFill>
              <a:latin typeface="Trebuchet MS" panose="020B0603020202020204" pitchFamily="34" charset="0"/>
            </a:endParaRPr>
          </a:p>
          <a:p>
            <a:pPr marL="108000" lvl="1">
              <a:buClr>
                <a:schemeClr val="tx2">
                  <a:lumMod val="100000"/>
                </a:schemeClr>
              </a:buClr>
              <a:buSzPct val="100000"/>
            </a:pPr>
            <a:r>
              <a:rPr lang="en-US" dirty="0">
                <a:solidFill>
                  <a:srgbClr val="FFFFFF"/>
                </a:solidFill>
                <a:latin typeface="Trebuchet MS" panose="020B0603020202020204" pitchFamily="34" charset="0"/>
              </a:rPr>
              <a:t>Instance methods take </a:t>
            </a:r>
            <a:r>
              <a:rPr lang="en-US" dirty="0">
                <a:solidFill>
                  <a:srgbClr val="D4DF33"/>
                </a:solidFill>
                <a:latin typeface="Trebuchet MS" panose="020B0603020202020204" pitchFamily="34" charset="0"/>
              </a:rPr>
              <a:t>self, </a:t>
            </a:r>
            <a:r>
              <a:rPr lang="en-US" dirty="0">
                <a:solidFill>
                  <a:schemeClr val="bg1"/>
                </a:solidFill>
                <a:latin typeface="Trebuchet MS" panose="020B0603020202020204" pitchFamily="34" charset="0"/>
              </a:rPr>
              <a:t>i.e the instance of a class </a:t>
            </a:r>
            <a:r>
              <a:rPr lang="en-US" dirty="0">
                <a:solidFill>
                  <a:srgbClr val="FFFFFF"/>
                </a:solidFill>
                <a:latin typeface="Trebuchet MS" panose="020B0603020202020204" pitchFamily="34" charset="0"/>
              </a:rPr>
              <a:t>as argument.</a:t>
            </a:r>
          </a:p>
          <a:p>
            <a:pPr marL="324000" lvl="1" indent="-216000">
              <a:buClr>
                <a:schemeClr val="tx2">
                  <a:lumMod val="100000"/>
                </a:schemeClr>
              </a:buClr>
              <a:buSzPct val="100000"/>
              <a:buFont typeface="Trebuchet MS" panose="020B0603020202020204" pitchFamily="34" charset="0"/>
              <a:buChar char="•"/>
            </a:pPr>
            <a:endParaRPr lang="en-US" dirty="0">
              <a:solidFill>
                <a:srgbClr val="FFFFFF"/>
              </a:solidFill>
              <a:latin typeface="Trebuchet MS" panose="020B0603020202020204" pitchFamily="34" charset="0"/>
            </a:endParaRPr>
          </a:p>
          <a:p>
            <a:pPr marL="108000" lvl="1">
              <a:buClr>
                <a:schemeClr val="tx2">
                  <a:lumMod val="100000"/>
                </a:schemeClr>
              </a:buClr>
              <a:buSzPct val="100000"/>
            </a:pPr>
            <a:r>
              <a:rPr lang="en-US" dirty="0">
                <a:solidFill>
                  <a:srgbClr val="FFFFFF"/>
                </a:solidFill>
                <a:latin typeface="Trebuchet MS" panose="020B0603020202020204" pitchFamily="34" charset="0"/>
              </a:rPr>
              <a:t>They are used to define the </a:t>
            </a:r>
            <a:r>
              <a:rPr lang="en-US" dirty="0">
                <a:solidFill>
                  <a:srgbClr val="D4DF33"/>
                </a:solidFill>
                <a:latin typeface="Trebuchet MS" panose="020B0603020202020204" pitchFamily="34" charset="0"/>
              </a:rPr>
              <a:t>behaviors </a:t>
            </a:r>
            <a:r>
              <a:rPr lang="en-US" dirty="0">
                <a:solidFill>
                  <a:srgbClr val="FFFFFF"/>
                </a:solidFill>
                <a:latin typeface="Trebuchet MS" panose="020B0603020202020204" pitchFamily="34" charset="0"/>
              </a:rPr>
              <a:t>of an object</a:t>
            </a:r>
          </a:p>
        </p:txBody>
      </p:sp>
      <p:sp>
        <p:nvSpPr>
          <p:cNvPr id="6" name="TextBox 5"/>
          <p:cNvSpPr txBox="1"/>
          <p:nvPr/>
        </p:nvSpPr>
        <p:spPr>
          <a:xfrm>
            <a:off x="5095245" y="1814692"/>
            <a:ext cx="4419087" cy="3388244"/>
          </a:xfrm>
          <a:prstGeom prst="rect">
            <a:avLst/>
          </a:prstGeom>
          <a:solidFill>
            <a:srgbClr val="FFFFFF"/>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Parro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 instance attribute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name, ag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name = 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age = ag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a:solidFill>
                  <a:srgbClr val="008200"/>
                </a:solidFill>
                <a:latin typeface="Consolas" panose="020B0609020204030204" pitchFamily="49" charset="0"/>
              </a:rPr>
              <a:t># instance method</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sing(self, song):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 sings {}"</a:t>
            </a:r>
            <a:r>
              <a:rPr lang="fr-FR" sz="1100" dirty="0">
                <a:solidFill>
                  <a:srgbClr val="000000"/>
                </a:solidFill>
                <a:latin typeface="Consolas" panose="020B0609020204030204" pitchFamily="49" charset="0"/>
              </a:rPr>
              <a:t>.format(self.name, song)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dance(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 is now dancing"</a:t>
            </a:r>
            <a:r>
              <a:rPr lang="fr-FR" sz="1100" dirty="0">
                <a:solidFill>
                  <a:srgbClr val="000000"/>
                </a:solidFill>
                <a:latin typeface="Consolas" panose="020B0609020204030204" pitchFamily="49" charset="0"/>
              </a:rPr>
              <a:t>.format(self.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instantiate the objec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blu = Parrot(</a:t>
            </a:r>
            <a:r>
              <a:rPr lang="fr-FR" sz="1100" dirty="0">
                <a:solidFill>
                  <a:srgbClr val="0000FF"/>
                </a:solidFill>
                <a:latin typeface="Consolas" panose="020B0609020204030204" pitchFamily="49" charset="0"/>
              </a:rPr>
              <a:t>"Blu"</a:t>
            </a:r>
            <a:r>
              <a:rPr lang="fr-FR" sz="1100" dirty="0">
                <a:solidFill>
                  <a:srgbClr val="000000"/>
                </a:solidFill>
                <a:latin typeface="Consolas" panose="020B0609020204030204" pitchFamily="49" charset="0"/>
              </a:rPr>
              <a:t>, 10)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8200"/>
                </a:solidFill>
                <a:latin typeface="Consolas" panose="020B0609020204030204" pitchFamily="49" charset="0"/>
              </a:rPr>
              <a:t># call our instance method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blu.sing(</a:t>
            </a:r>
            <a:r>
              <a:rPr lang="fr-FR" sz="1100" dirty="0">
                <a:solidFill>
                  <a:srgbClr val="0000FF"/>
                </a:solidFill>
                <a:latin typeface="Consolas" panose="020B0609020204030204" pitchFamily="49" charset="0"/>
              </a:rPr>
              <a:t>"'Happy'"</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err="1">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blu.dance</a:t>
            </a:r>
            <a:r>
              <a:rPr lang="fr-FR" sz="1100" dirty="0">
                <a:solidFill>
                  <a:srgbClr val="000000"/>
                </a:solidFill>
                <a:latin typeface="Consolas" panose="020B0609020204030204" pitchFamily="49" charset="0"/>
              </a:rPr>
              <a:t>())</a:t>
            </a:r>
            <a:endParaRPr lang="en-US" sz="1100" dirty="0">
              <a:solidFill>
                <a:srgbClr val="575757"/>
              </a:solidFill>
            </a:endParaRPr>
          </a:p>
        </p:txBody>
      </p:sp>
      <p:sp>
        <p:nvSpPr>
          <p:cNvPr id="10" name="TextBox 9"/>
          <p:cNvSpPr txBox="1"/>
          <p:nvPr/>
        </p:nvSpPr>
        <p:spPr>
          <a:xfrm>
            <a:off x="5095245" y="5867469"/>
            <a:ext cx="1794939" cy="430738"/>
          </a:xfrm>
          <a:prstGeom prst="rect">
            <a:avLst/>
          </a:prstGeom>
          <a:solidFill>
            <a:schemeClr val="bg1"/>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err="1">
                <a:solidFill>
                  <a:srgbClr val="37373A"/>
                </a:solidFill>
                <a:latin typeface="Consolas" panose="020B0609020204030204" pitchFamily="49" charset="0"/>
              </a:rPr>
              <a:t>Blu</a:t>
            </a:r>
            <a:r>
              <a:rPr lang="en-US" sz="1200" dirty="0">
                <a:solidFill>
                  <a:srgbClr val="37373A"/>
                </a:solidFill>
                <a:latin typeface="Consolas" panose="020B0609020204030204" pitchFamily="49" charset="0"/>
              </a:rPr>
              <a:t> sings 'Happy'</a:t>
            </a:r>
          </a:p>
          <a:p>
            <a:r>
              <a:rPr lang="en-US" sz="1200" dirty="0" err="1">
                <a:solidFill>
                  <a:srgbClr val="37373A"/>
                </a:solidFill>
                <a:latin typeface="Consolas" panose="020B0609020204030204" pitchFamily="49" charset="0"/>
              </a:rPr>
              <a:t>Blu</a:t>
            </a:r>
            <a:r>
              <a:rPr lang="en-US" sz="1200" dirty="0">
                <a:solidFill>
                  <a:srgbClr val="37373A"/>
                </a:solidFill>
                <a:latin typeface="Consolas" panose="020B0609020204030204" pitchFamily="49" charset="0"/>
              </a:rPr>
              <a:t> is now dancing</a:t>
            </a:r>
          </a:p>
        </p:txBody>
      </p:sp>
      <p:sp>
        <p:nvSpPr>
          <p:cNvPr id="9" name="TextBox 8"/>
          <p:cNvSpPr txBox="1"/>
          <p:nvPr/>
        </p:nvSpPr>
        <p:spPr>
          <a:xfrm>
            <a:off x="4945693" y="5438970"/>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a:t>
            </a:r>
          </a:p>
        </p:txBody>
      </p:sp>
    </p:spTree>
    <p:custDataLst>
      <p:tags r:id="rId2"/>
    </p:custDataLst>
    <p:extLst>
      <p:ext uri="{BB962C8B-B14F-4D97-AF65-F5344CB8AC3E}">
        <p14:creationId xmlns:p14="http://schemas.microsoft.com/office/powerpoint/2010/main" val="4170651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84"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284489" y="1558730"/>
            <a:ext cx="3127881" cy="711076"/>
          </a:xfrm>
        </p:spPr>
        <p:txBody>
          <a:bodyPr/>
          <a:lstStyle/>
          <a:p>
            <a:pPr algn="ctr"/>
            <a:r>
              <a:rPr lang="en-US" dirty="0"/>
              <a:t>Class Methods</a:t>
            </a:r>
          </a:p>
        </p:txBody>
      </p:sp>
      <p:sp>
        <p:nvSpPr>
          <p:cNvPr id="5" name="TextBox 4"/>
          <p:cNvSpPr txBox="1"/>
          <p:nvPr/>
        </p:nvSpPr>
        <p:spPr>
          <a:xfrm>
            <a:off x="555101" y="1558730"/>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Instead of accepting a self parameter, class methods </a:t>
            </a:r>
            <a:r>
              <a:rPr lang="en-US" sz="1600" dirty="0">
                <a:solidFill>
                  <a:schemeClr val="accent3"/>
                </a:solidFill>
              </a:rPr>
              <a:t>take a cls argument </a:t>
            </a:r>
            <a:r>
              <a:rPr lang="en-US" sz="1600" dirty="0">
                <a:solidFill>
                  <a:schemeClr val="bg1"/>
                </a:solidFill>
              </a:rPr>
              <a:t>that points to the class—and not the object instance—when the method is called</a:t>
            </a:r>
          </a:p>
          <a:p>
            <a:endParaRPr lang="en-US" sz="1600" dirty="0">
              <a:solidFill>
                <a:schemeClr val="bg1"/>
              </a:solidFill>
            </a:endParaRPr>
          </a:p>
          <a:p>
            <a:r>
              <a:rPr lang="en-US" sz="1600" dirty="0">
                <a:solidFill>
                  <a:schemeClr val="bg1"/>
                </a:solidFill>
              </a:rPr>
              <a:t>Because the class method only has access to this </a:t>
            </a:r>
            <a:r>
              <a:rPr lang="en-US" sz="1600" dirty="0">
                <a:solidFill>
                  <a:srgbClr val="D4DF33"/>
                </a:solidFill>
              </a:rPr>
              <a:t>cls </a:t>
            </a:r>
            <a:r>
              <a:rPr lang="en-US" sz="1600" dirty="0">
                <a:solidFill>
                  <a:schemeClr val="bg1"/>
                </a:solidFill>
              </a:rPr>
              <a:t>argument, it can’t modify object instance state</a:t>
            </a:r>
          </a:p>
        </p:txBody>
      </p:sp>
      <p:grpSp>
        <p:nvGrpSpPr>
          <p:cNvPr id="15" name="Group 14"/>
          <p:cNvGrpSpPr/>
          <p:nvPr/>
        </p:nvGrpSpPr>
        <p:grpSpPr>
          <a:xfrm>
            <a:off x="462453" y="5363572"/>
            <a:ext cx="840567" cy="834407"/>
            <a:chOff x="5275671" y="2608671"/>
            <a:chExt cx="1640659" cy="1640659"/>
          </a:xfrm>
        </p:grpSpPr>
        <p:sp>
          <p:nvSpPr>
            <p:cNvPr id="16" name="Oval 15"/>
            <p:cNvSpPr>
              <a:spLocks noChangeAspect="1"/>
            </p:cNvSpPr>
            <p:nvPr/>
          </p:nvSpPr>
          <p:spPr>
            <a:xfrm>
              <a:off x="5275671" y="2608671"/>
              <a:ext cx="1640659"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17" name="Group 16"/>
            <p:cNvGrpSpPr>
              <a:grpSpLocks noChangeAspect="1"/>
            </p:cNvGrpSpPr>
            <p:nvPr/>
          </p:nvGrpSpPr>
          <p:grpSpPr>
            <a:xfrm>
              <a:off x="5344505" y="2674580"/>
              <a:ext cx="1502990" cy="1504383"/>
              <a:chOff x="5273801" y="2606040"/>
              <a:chExt cx="1644396" cy="1645920"/>
            </a:xfrm>
          </p:grpSpPr>
          <p:sp>
            <p:nvSpPr>
              <p:cNvPr id="18"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9" name="Group 18"/>
              <p:cNvGrpSpPr/>
              <p:nvPr/>
            </p:nvGrpSpPr>
            <p:grpSpPr>
              <a:xfrm>
                <a:off x="5724143" y="2796921"/>
                <a:ext cx="745236" cy="1259967"/>
                <a:chOff x="5724143" y="2796921"/>
                <a:chExt cx="745236" cy="1259967"/>
              </a:xfrm>
            </p:grpSpPr>
            <p:sp>
              <p:nvSpPr>
                <p:cNvPr id="20"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22" name="TextBox 21"/>
          <p:cNvSpPr txBox="1"/>
          <p:nvPr/>
        </p:nvSpPr>
        <p:spPr>
          <a:xfrm>
            <a:off x="1360401" y="5270991"/>
            <a:ext cx="2513918" cy="10153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allows to define alternative constructors for your classes</a:t>
            </a:r>
          </a:p>
        </p:txBody>
      </p:sp>
      <p:sp>
        <p:nvSpPr>
          <p:cNvPr id="8" name="Rectangle 7"/>
          <p:cNvSpPr/>
          <p:nvPr/>
        </p:nvSpPr>
        <p:spPr>
          <a:xfrm>
            <a:off x="5080014" y="2597849"/>
            <a:ext cx="3860200" cy="1785104"/>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Pizza: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a:t>
            </a:r>
            <a:r>
              <a:rPr lang="fr-FR" sz="1100" dirty="0" err="1">
                <a:solidFill>
                  <a:srgbClr val="000000"/>
                </a:solidFill>
                <a:latin typeface="Consolas" panose="020B0609020204030204" pitchFamily="49" charset="0"/>
              </a:rPr>
              <a:t>ingredient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lf.ingredients</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ingredient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a:t>
            </a:r>
            <a:r>
              <a:rPr lang="fr-FR" sz="1100" dirty="0" err="1">
                <a:solidFill>
                  <a:srgbClr val="000000"/>
                </a:solidFill>
                <a:latin typeface="Consolas" panose="020B0609020204030204" pitchFamily="49" charset="0"/>
              </a:rPr>
              <a:t>repr</a:t>
            </a:r>
            <a:r>
              <a:rPr lang="fr-FR" sz="1100" dirty="0">
                <a:solidFill>
                  <a:srgbClr val="000000"/>
                </a:solidFill>
                <a:latin typeface="Consolas" panose="020B0609020204030204" pitchFamily="49" charset="0"/>
              </a:rPr>
              <a:t>__(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f</a:t>
            </a:r>
            <a:r>
              <a:rPr lang="fr-FR" sz="1100" dirty="0" err="1">
                <a:solidFill>
                  <a:srgbClr val="0000FF"/>
                </a:solidFill>
                <a:latin typeface="Consolas" panose="020B0609020204030204" pitchFamily="49" charset="0"/>
              </a:rPr>
              <a:t>'Pizza</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self.ingredients!r</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classmethod</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margherita</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cl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cls</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mozarella</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tomatoes</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sp>
        <p:nvSpPr>
          <p:cNvPr id="9" name="Rectangle 8"/>
          <p:cNvSpPr/>
          <p:nvPr/>
        </p:nvSpPr>
        <p:spPr>
          <a:xfrm>
            <a:off x="5080014" y="5392972"/>
            <a:ext cx="2752892" cy="430887"/>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dirty="0">
                <a:solidFill>
                  <a:srgbClr val="000000"/>
                </a:solidFill>
                <a:latin typeface="Consolas" panose="020B0609020204030204" pitchFamily="49" charset="0"/>
              </a:rPr>
              <a:t>&gt;&gt; </a:t>
            </a:r>
            <a:r>
              <a:rPr lang="fr-FR" sz="1100" dirty="0" err="1">
                <a:solidFill>
                  <a:srgbClr val="000000"/>
                </a:solidFill>
                <a:latin typeface="Consolas" panose="020B0609020204030204" pitchFamily="49" charset="0"/>
              </a:rPr>
              <a:t>Pizza.margherita</a:t>
            </a:r>
            <a:r>
              <a:rPr lang="fr-FR" sz="1100" dirty="0">
                <a:solidFill>
                  <a:srgbClr val="000000"/>
                </a:solidFill>
                <a:latin typeface="Consolas" panose="020B0609020204030204" pitchFamily="49" charset="0"/>
              </a:rPr>
              <a:t>()  </a:t>
            </a:r>
          </a:p>
          <a:p>
            <a:r>
              <a:rPr lang="fr-FR" sz="1100" b="0" i="0" dirty="0">
                <a:solidFill>
                  <a:srgbClr val="000000"/>
                </a:solidFill>
                <a:effectLst/>
                <a:latin typeface="Consolas" panose="020B0609020204030204" pitchFamily="49" charset="0"/>
              </a:rPr>
              <a:t>Pizza(['</a:t>
            </a:r>
            <a:r>
              <a:rPr lang="fr-FR" sz="1100" b="0" i="0" dirty="0" err="1">
                <a:solidFill>
                  <a:srgbClr val="000000"/>
                </a:solidFill>
                <a:effectLst/>
                <a:latin typeface="Consolas" panose="020B0609020204030204" pitchFamily="49" charset="0"/>
              </a:rPr>
              <a:t>mozarella</a:t>
            </a:r>
            <a:r>
              <a:rPr lang="fr-FR" sz="1100" b="0" i="0" dirty="0">
                <a:solidFill>
                  <a:srgbClr val="000000"/>
                </a:solidFill>
                <a:effectLst/>
                <a:latin typeface="Consolas" panose="020B0609020204030204" pitchFamily="49" charset="0"/>
              </a:rPr>
              <a:t>', '</a:t>
            </a:r>
            <a:r>
              <a:rPr lang="fr-FR" sz="1100" b="0" i="0" dirty="0" err="1">
                <a:solidFill>
                  <a:srgbClr val="000000"/>
                </a:solidFill>
                <a:effectLst/>
                <a:latin typeface="Consolas" panose="020B0609020204030204" pitchFamily="49" charset="0"/>
              </a:rPr>
              <a:t>tomatoes</a:t>
            </a:r>
            <a:r>
              <a:rPr lang="fr-FR" sz="1100" b="0" i="0" dirty="0">
                <a:solidFill>
                  <a:srgbClr val="000000"/>
                </a:solidFill>
                <a:effectLst/>
                <a:latin typeface="Consolas" panose="020B0609020204030204" pitchFamily="49" charset="0"/>
              </a:rPr>
              <a:t>'])</a:t>
            </a:r>
            <a:endParaRPr lang="fr-FR" sz="1100" b="0" i="0" dirty="0">
              <a:solidFill>
                <a:srgbClr val="5C5C5C"/>
              </a:solidFill>
              <a:effectLst/>
              <a:latin typeface="Consolas" panose="020B0609020204030204" pitchFamily="49" charset="0"/>
            </a:endParaRPr>
          </a:p>
        </p:txBody>
      </p:sp>
      <p:sp>
        <p:nvSpPr>
          <p:cNvPr id="24" name="TextBox 23"/>
          <p:cNvSpPr txBox="1"/>
          <p:nvPr/>
        </p:nvSpPr>
        <p:spPr>
          <a:xfrm>
            <a:off x="4913689" y="5004630"/>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a:t>
            </a:r>
          </a:p>
        </p:txBody>
      </p:sp>
    </p:spTree>
    <p:custDataLst>
      <p:tags r:id="rId2"/>
    </p:custDataLst>
    <p:extLst>
      <p:ext uri="{BB962C8B-B14F-4D97-AF65-F5344CB8AC3E}">
        <p14:creationId xmlns:p14="http://schemas.microsoft.com/office/powerpoint/2010/main" val="1076823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08"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423555" y="1189903"/>
            <a:ext cx="3127881" cy="1495794"/>
          </a:xfrm>
        </p:spPr>
        <p:txBody>
          <a:bodyPr/>
          <a:lstStyle/>
          <a:p>
            <a:pPr algn="ctr"/>
            <a:r>
              <a:rPr lang="en-US" dirty="0"/>
              <a:t>Static Methods</a:t>
            </a:r>
          </a:p>
        </p:txBody>
      </p:sp>
      <p:sp>
        <p:nvSpPr>
          <p:cNvPr id="5" name="TextBox 4"/>
          <p:cNvSpPr txBox="1"/>
          <p:nvPr/>
        </p:nvSpPr>
        <p:spPr>
          <a:xfrm>
            <a:off x="516488" y="2377191"/>
            <a:ext cx="3165715" cy="36010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Static methods </a:t>
            </a:r>
            <a:r>
              <a:rPr lang="en-US" sz="1600" dirty="0">
                <a:solidFill>
                  <a:schemeClr val="accent3"/>
                </a:solidFill>
              </a:rPr>
              <a:t>do not take </a:t>
            </a:r>
            <a:r>
              <a:rPr lang="en-US" sz="1600" dirty="0" err="1">
                <a:solidFill>
                  <a:schemeClr val="accent3"/>
                </a:solidFill>
              </a:rPr>
              <a:t>cls</a:t>
            </a:r>
            <a:r>
              <a:rPr lang="en-US" sz="1600" dirty="0">
                <a:solidFill>
                  <a:schemeClr val="accent3"/>
                </a:solidFill>
              </a:rPr>
              <a:t> </a:t>
            </a:r>
            <a:r>
              <a:rPr lang="en-US" sz="1600" dirty="0">
                <a:solidFill>
                  <a:srgbClr val="FFFFFF"/>
                </a:solidFill>
              </a:rPr>
              <a:t>nor </a:t>
            </a:r>
            <a:r>
              <a:rPr lang="en-US" sz="1600" dirty="0">
                <a:solidFill>
                  <a:schemeClr val="accent3"/>
                </a:solidFill>
              </a:rPr>
              <a:t>self argument</a:t>
            </a:r>
            <a:endParaRPr lang="en-US" sz="1600" dirty="0">
              <a:solidFill>
                <a:schemeClr val="bg1"/>
              </a:solidFill>
            </a:endParaRPr>
          </a:p>
          <a:p>
            <a:endParaRPr lang="en-US" sz="1600" dirty="0">
              <a:solidFill>
                <a:schemeClr val="bg1"/>
              </a:solidFill>
            </a:endParaRPr>
          </a:p>
          <a:p>
            <a:r>
              <a:rPr lang="en-US" sz="1600" dirty="0">
                <a:solidFill>
                  <a:schemeClr val="bg1"/>
                </a:solidFill>
              </a:rPr>
              <a:t>They are </a:t>
            </a:r>
            <a:r>
              <a:rPr lang="en-US" sz="1600" dirty="0">
                <a:solidFill>
                  <a:srgbClr val="D4DF33"/>
                </a:solidFill>
              </a:rPr>
              <a:t>independent methods</a:t>
            </a:r>
            <a:r>
              <a:rPr lang="en-US" sz="1600" dirty="0">
                <a:solidFill>
                  <a:schemeClr val="bg1"/>
                </a:solidFill>
              </a:rPr>
              <a:t> that can't modify the class or class instance in any way</a:t>
            </a:r>
          </a:p>
          <a:p>
            <a:endParaRPr lang="en-US" sz="1600" dirty="0">
              <a:solidFill>
                <a:schemeClr val="bg1"/>
              </a:solidFill>
            </a:endParaRPr>
          </a:p>
          <a:p>
            <a:r>
              <a:rPr lang="en-US" sz="1600" dirty="0">
                <a:solidFill>
                  <a:schemeClr val="bg1"/>
                </a:solidFill>
              </a:rPr>
              <a:t>Static methods are particularly useful when it comes to </a:t>
            </a:r>
            <a:r>
              <a:rPr lang="en-US" sz="1600" dirty="0">
                <a:solidFill>
                  <a:srgbClr val="D4DF33"/>
                </a:solidFill>
              </a:rPr>
              <a:t>maintainability </a:t>
            </a:r>
            <a:r>
              <a:rPr lang="en-US" sz="1600" dirty="0">
                <a:solidFill>
                  <a:schemeClr val="bg1"/>
                </a:solidFill>
              </a:rPr>
              <a:t>and </a:t>
            </a:r>
            <a:r>
              <a:rPr lang="en-US" sz="1600" dirty="0">
                <a:solidFill>
                  <a:srgbClr val="D4DF33"/>
                </a:solidFill>
              </a:rPr>
              <a:t>testability</a:t>
            </a:r>
          </a:p>
        </p:txBody>
      </p:sp>
      <p:sp>
        <p:nvSpPr>
          <p:cNvPr id="6" name="TextBox 5"/>
          <p:cNvSpPr txBox="1"/>
          <p:nvPr/>
        </p:nvSpPr>
        <p:spPr>
          <a:xfrm>
            <a:off x="5412868" y="1715643"/>
            <a:ext cx="3785996" cy="4451985"/>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math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Pizza: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radius, ingredients):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radius = radius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ingredients = ingredients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repr__(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f</a:t>
            </a:r>
            <a:r>
              <a:rPr lang="fr-FR" sz="1100" dirty="0">
                <a:solidFill>
                  <a:srgbClr val="0000FF"/>
                </a:solidFill>
                <a:latin typeface="Consolas" panose="020B0609020204030204" pitchFamily="49" charset="0"/>
              </a:rPr>
              <a:t>'Pizza({self.radius!r}, '</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f</a:t>
            </a:r>
            <a:r>
              <a:rPr lang="fr-FR" sz="1100" dirty="0">
                <a:solidFill>
                  <a:srgbClr val="0000FF"/>
                </a:solidFill>
                <a:latin typeface="Consolas" panose="020B0609020204030204" pitchFamily="49" charset="0"/>
              </a:rPr>
              <a:t>'{self.ingredients!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rea(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self.circle_area(self.radius)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taticmethod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circle_area(r):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r ** 2 * math.pi  </a:t>
            </a:r>
            <a:endParaRPr lang="fr-FR" sz="1100" dirty="0">
              <a:solidFill>
                <a:srgbClr val="5C5C5C"/>
              </a:solidFill>
              <a:latin typeface="Consolas" panose="020B0609020204030204" pitchFamily="49" charset="0"/>
            </a:endParaRPr>
          </a:p>
          <a:p>
            <a:pPr algn="ctr"/>
            <a:endParaRPr lang="en-US" sz="1100" dirty="0">
              <a:solidFill>
                <a:srgbClr val="575757"/>
              </a:solidFill>
            </a:endParaRPr>
          </a:p>
          <a:p>
            <a:r>
              <a:rPr lang="fr-FR" sz="1100" dirty="0">
                <a:solidFill>
                  <a:srgbClr val="000000"/>
                </a:solidFill>
                <a:latin typeface="Consolas" panose="020B0609020204030204" pitchFamily="49" charset="0"/>
              </a:rPr>
              <a:t>&gt;&gt;&gt; p = Pizza(4, [</a:t>
            </a:r>
            <a:r>
              <a:rPr lang="fr-FR" sz="1100" dirty="0">
                <a:solidFill>
                  <a:srgbClr val="0000FF"/>
                </a:solidFill>
                <a:latin typeface="Consolas" panose="020B0609020204030204" pitchFamily="49" charset="0"/>
              </a:rPr>
              <a:t>'mozzarella'</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tomatoe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gt;&gt;&gt; p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Pizza(4, [</a:t>
            </a:r>
            <a:r>
              <a:rPr lang="fr-FR" sz="1100" dirty="0">
                <a:solidFill>
                  <a:srgbClr val="0000FF"/>
                </a:solidFill>
                <a:latin typeface="Consolas" panose="020B0609020204030204" pitchFamily="49" charset="0"/>
              </a:rPr>
              <a:t>'mozzarella'</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tomatoes'</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gt;&gt;&gt; p.area()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50.26548245743669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gt;&gt;&gt; Pizza.circle_area(4)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50.26548245743669  </a:t>
            </a:r>
            <a:endParaRPr lang="fr-FR" sz="1100" dirty="0">
              <a:solidFill>
                <a:srgbClr val="5C5C5C"/>
              </a:solidFill>
              <a:latin typeface="Consolas" panose="020B0609020204030204" pitchFamily="49" charset="0"/>
            </a:endParaRPr>
          </a:p>
          <a:p>
            <a:pPr algn="ctr"/>
            <a:endParaRPr lang="en-US" sz="1400" dirty="0">
              <a:solidFill>
                <a:srgbClr val="575757"/>
              </a:solidFill>
            </a:endParaRPr>
          </a:p>
        </p:txBody>
      </p:sp>
    </p:spTree>
    <p:custDataLst>
      <p:tags r:id="rId2"/>
    </p:custDataLst>
    <p:extLst>
      <p:ext uri="{BB962C8B-B14F-4D97-AF65-F5344CB8AC3E}">
        <p14:creationId xmlns:p14="http://schemas.microsoft.com/office/powerpoint/2010/main" val="238414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34"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41297" y="901794"/>
            <a:ext cx="3127881" cy="1495794"/>
          </a:xfrm>
        </p:spPr>
        <p:txBody>
          <a:bodyPr/>
          <a:lstStyle/>
          <a:p>
            <a:r>
              <a:rPr lang="en-US" dirty="0"/>
              <a:t>Context Managers</a:t>
            </a:r>
          </a:p>
        </p:txBody>
      </p:sp>
      <p:sp>
        <p:nvSpPr>
          <p:cNvPr id="17" name="TextBox 16"/>
          <p:cNvSpPr txBox="1"/>
          <p:nvPr/>
        </p:nvSpPr>
        <p:spPr>
          <a:xfrm>
            <a:off x="4692627" y="4300231"/>
            <a:ext cx="6693326" cy="626082"/>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    A context manager should always have a </a:t>
            </a:r>
            <a:r>
              <a:rPr lang="en-US" sz="1200" dirty="0">
                <a:solidFill>
                  <a:schemeClr val="tx2"/>
                </a:solidFill>
                <a:latin typeface="Trebuchet MS" panose="020B0603020202020204" pitchFamily="34" charset="0"/>
              </a:rPr>
              <a:t>__enter__() </a:t>
            </a:r>
            <a:r>
              <a:rPr lang="en-US" sz="1200" dirty="0">
                <a:solidFill>
                  <a:schemeClr val="tx1">
                    <a:lumMod val="100000"/>
                  </a:schemeClr>
                </a:solidFill>
                <a:latin typeface="Trebuchet MS" panose="020B0603020202020204" pitchFamily="34" charset="0"/>
              </a:rPr>
              <a:t>and an </a:t>
            </a:r>
            <a:r>
              <a:rPr lang="en-US" sz="1200" dirty="0">
                <a:solidFill>
                  <a:schemeClr val="tx2"/>
                </a:solidFill>
                <a:latin typeface="Trebuchet MS" panose="020B0603020202020204" pitchFamily="34" charset="0"/>
              </a:rPr>
              <a:t>__exit__()</a:t>
            </a:r>
            <a:r>
              <a:rPr lang="en-US" sz="1200" dirty="0">
                <a:solidFill>
                  <a:schemeClr val="tx1">
                    <a:lumMod val="100000"/>
                  </a:schemeClr>
                </a:solidFill>
                <a:latin typeface="Trebuchet MS" panose="020B0603020202020204" pitchFamily="34" charset="0"/>
              </a:rPr>
              <a:t> method</a:t>
            </a:r>
            <a:endParaRPr lang="en-US" dirty="0">
              <a:solidFill>
                <a:schemeClr val="tx1">
                  <a:lumMod val="100000"/>
                </a:schemeClr>
              </a:solidFill>
              <a:latin typeface="Trebuchet MS" panose="020B0603020202020204" pitchFamily="34" charset="0"/>
            </a:endParaRPr>
          </a:p>
        </p:txBody>
      </p:sp>
      <p:grpSp>
        <p:nvGrpSpPr>
          <p:cNvPr id="8" name="Group 7"/>
          <p:cNvGrpSpPr/>
          <p:nvPr/>
        </p:nvGrpSpPr>
        <p:grpSpPr>
          <a:xfrm>
            <a:off x="4459455" y="4166865"/>
            <a:ext cx="466343" cy="432640"/>
            <a:chOff x="5275668" y="2608671"/>
            <a:chExt cx="1640658" cy="1640659"/>
          </a:xfrm>
        </p:grpSpPr>
        <p:sp>
          <p:nvSpPr>
            <p:cNvPr id="9" name="Oval 8"/>
            <p:cNvSpPr>
              <a:spLocks noChangeAspect="1"/>
            </p:cNvSpPr>
            <p:nvPr/>
          </p:nvSpPr>
          <p:spPr>
            <a:xfrm>
              <a:off x="5275668" y="2608671"/>
              <a:ext cx="1640658"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grpSp>
          <p:nvGrpSpPr>
            <p:cNvPr id="10" name="Group 9"/>
            <p:cNvGrpSpPr>
              <a:grpSpLocks noChangeAspect="1"/>
            </p:cNvGrpSpPr>
            <p:nvPr/>
          </p:nvGrpSpPr>
          <p:grpSpPr>
            <a:xfrm>
              <a:off x="5344505" y="2674580"/>
              <a:ext cx="1502990" cy="1504383"/>
              <a:chOff x="5273801" y="2606040"/>
              <a:chExt cx="1644396" cy="1645920"/>
            </a:xfrm>
          </p:grpSpPr>
          <p:sp>
            <p:nvSpPr>
              <p:cNvPr id="11"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5724143" y="2796921"/>
                <a:ext cx="745236" cy="1259967"/>
                <a:chOff x="5724143" y="2796921"/>
                <a:chExt cx="745236" cy="1259967"/>
              </a:xfrm>
            </p:grpSpPr>
            <p:sp>
              <p:nvSpPr>
                <p:cNvPr id="13" name="Freeform 36">
                  <a:extLst>
                    <a:ext uri="{FF2B5EF4-FFF2-40B4-BE49-F238E27FC236}">
                      <a16:creationId xmlns:a16="http://schemas.microsoft.com/office/drawing/2014/main" xmlns=""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7">
                  <a:extLst>
                    <a:ext uri="{FF2B5EF4-FFF2-40B4-BE49-F238E27FC236}">
                      <a16:creationId xmlns:a16="http://schemas.microsoft.com/office/drawing/2014/main" xmlns=""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 name="TextBox 14"/>
          <p:cNvSpPr txBox="1"/>
          <p:nvPr/>
        </p:nvSpPr>
        <p:spPr>
          <a:xfrm>
            <a:off x="551373" y="2268484"/>
            <a:ext cx="3307727" cy="45092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600"/>
              </a:spcAft>
            </a:pPr>
            <a:r>
              <a:rPr lang="en-US" sz="1600" dirty="0">
                <a:solidFill>
                  <a:srgbClr val="FFFFFF"/>
                </a:solidFill>
                <a:latin typeface="Trebuchet MS" panose="020B0603020202020204" pitchFamily="34" charset="0"/>
                <a:sym typeface="Trebuchet MS" panose="020B0603020202020204" pitchFamily="34" charset="0"/>
              </a:rPr>
              <a:t>A context manager is a  Python class allowing to open and close processes by "cleaning up" effectively </a:t>
            </a:r>
          </a:p>
          <a:p>
            <a:pPr>
              <a:lnSpc>
                <a:spcPct val="90000"/>
              </a:lnSpc>
              <a:spcAft>
                <a:spcPts val="600"/>
              </a:spcAft>
            </a:pPr>
            <a:endParaRPr lang="en-US" sz="1600" dirty="0">
              <a:solidFill>
                <a:srgbClr val="FFFFFF"/>
              </a:solidFill>
              <a:latin typeface="Trebuchet MS" panose="020B0603020202020204" pitchFamily="34" charset="0"/>
              <a:sym typeface="Trebuchet MS" panose="020B0603020202020204" pitchFamily="34" charset="0"/>
            </a:endParaRPr>
          </a:p>
          <a:p>
            <a:pPr>
              <a:lnSpc>
                <a:spcPct val="90000"/>
              </a:lnSpc>
              <a:spcAft>
                <a:spcPts val="600"/>
              </a:spcAft>
            </a:pPr>
            <a:r>
              <a:rPr lang="en-US" sz="1600" dirty="0">
                <a:solidFill>
                  <a:srgbClr val="D4DF33"/>
                </a:solidFill>
                <a:latin typeface="Trebuchet MS" panose="020B0603020202020204" pitchFamily="34" charset="0"/>
                <a:sym typeface="Trebuchet MS" panose="020B0603020202020204" pitchFamily="34" charset="0"/>
              </a:rPr>
              <a:t>with</a:t>
            </a:r>
            <a:r>
              <a:rPr lang="en-US" sz="1600" dirty="0">
                <a:solidFill>
                  <a:srgbClr val="FFFFFF"/>
                </a:solidFill>
                <a:latin typeface="Trebuchet MS" panose="020B0603020202020204" pitchFamily="34" charset="0"/>
                <a:sym typeface="Trebuchet MS" panose="020B0603020202020204" pitchFamily="34" charset="0"/>
              </a:rPr>
              <a:t> statement triggers </a:t>
            </a:r>
            <a:r>
              <a:rPr lang="en-US" sz="1600" dirty="0">
                <a:solidFill>
                  <a:srgbClr val="D4DF33"/>
                </a:solidFill>
                <a:latin typeface="Trebuchet MS" panose="020B0603020202020204" pitchFamily="34" charset="0"/>
                <a:sym typeface="Trebuchet MS" panose="020B0603020202020204" pitchFamily="34" charset="0"/>
              </a:rPr>
              <a:t>__enter__() </a:t>
            </a:r>
            <a:r>
              <a:rPr lang="en-US" sz="1600" dirty="0">
                <a:solidFill>
                  <a:srgbClr val="FFFFFF"/>
                </a:solidFill>
                <a:latin typeface="Trebuchet MS" panose="020B0603020202020204" pitchFamily="34" charset="0"/>
                <a:sym typeface="Trebuchet MS" panose="020B0603020202020204" pitchFamily="34" charset="0"/>
              </a:rPr>
              <a:t>method when entering the instruction block and </a:t>
            </a:r>
            <a:r>
              <a:rPr lang="en-US" sz="1600" dirty="0">
                <a:solidFill>
                  <a:srgbClr val="D4DF33"/>
                </a:solidFill>
                <a:latin typeface="Trebuchet MS" panose="020B0603020202020204" pitchFamily="34" charset="0"/>
                <a:sym typeface="Trebuchet MS" panose="020B0603020202020204" pitchFamily="34" charset="0"/>
              </a:rPr>
              <a:t>__exit__()</a:t>
            </a:r>
            <a:r>
              <a:rPr lang="en-US" sz="1600" dirty="0">
                <a:solidFill>
                  <a:srgbClr val="FFFFFF"/>
                </a:solidFill>
                <a:latin typeface="Trebuchet MS" panose="020B0603020202020204" pitchFamily="34" charset="0"/>
                <a:sym typeface="Trebuchet MS" panose="020B0603020202020204" pitchFamily="34" charset="0"/>
              </a:rPr>
              <a:t> when exiting the instruction block</a:t>
            </a:r>
          </a:p>
          <a:p>
            <a:pPr>
              <a:lnSpc>
                <a:spcPct val="90000"/>
              </a:lnSpc>
              <a:spcAft>
                <a:spcPts val="600"/>
              </a:spcAft>
            </a:pPr>
            <a:endParaRPr lang="en-US" sz="1600" dirty="0">
              <a:solidFill>
                <a:srgbClr val="FFFFFF"/>
              </a:solidFill>
              <a:latin typeface="Trebuchet MS" panose="020B0603020202020204" pitchFamily="34" charset="0"/>
              <a:sym typeface="Trebuchet MS" panose="020B0603020202020204" pitchFamily="34" charset="0"/>
            </a:endParaRPr>
          </a:p>
          <a:p>
            <a:pPr>
              <a:lnSpc>
                <a:spcPct val="90000"/>
              </a:lnSpc>
              <a:spcAft>
                <a:spcPts val="600"/>
              </a:spcAft>
            </a:pPr>
            <a:r>
              <a:rPr lang="en-US" sz="1600" dirty="0">
                <a:solidFill>
                  <a:srgbClr val="FFFFFF"/>
                </a:solidFill>
                <a:latin typeface="Trebuchet MS" panose="020B0603020202020204" pitchFamily="34" charset="0"/>
                <a:sym typeface="Trebuchet MS" panose="020B0603020202020204" pitchFamily="34" charset="0"/>
              </a:rPr>
              <a:t>Useful to manage files, handle exceptions error, measure computation time, access/release memory or open/close connection</a:t>
            </a:r>
            <a:endParaRPr lang="en-US" sz="1600" dirty="0">
              <a:solidFill>
                <a:srgbClr val="FFFFFF"/>
              </a:solidFill>
              <a:latin typeface="Trebuchet MS" panose="020B0603020202020204" pitchFamily="34" charset="0"/>
            </a:endParaRPr>
          </a:p>
        </p:txBody>
      </p:sp>
      <p:sp>
        <p:nvSpPr>
          <p:cNvPr id="5" name="TextBox 4"/>
          <p:cNvSpPr txBox="1"/>
          <p:nvPr/>
        </p:nvSpPr>
        <p:spPr>
          <a:xfrm>
            <a:off x="4100884" y="1658884"/>
            <a:ext cx="1716832" cy="609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Definition</a:t>
            </a:r>
          </a:p>
        </p:txBody>
      </p:sp>
      <p:sp>
        <p:nvSpPr>
          <p:cNvPr id="16" name="TextBox 15"/>
          <p:cNvSpPr txBox="1"/>
          <p:nvPr/>
        </p:nvSpPr>
        <p:spPr>
          <a:xfrm>
            <a:off x="9233083" y="1625445"/>
            <a:ext cx="1716832" cy="609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Usage</a:t>
            </a:r>
          </a:p>
        </p:txBody>
      </p:sp>
      <p:sp>
        <p:nvSpPr>
          <p:cNvPr id="19" name="Rectangle 18"/>
          <p:cNvSpPr/>
          <p:nvPr/>
        </p:nvSpPr>
        <p:spPr>
          <a:xfrm>
            <a:off x="4692625" y="5262044"/>
            <a:ext cx="6693328" cy="1115896"/>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rgbClr val="29BA74"/>
                </a:solidFill>
              </a:rPr>
              <a:t>   </a:t>
            </a:r>
            <a:r>
              <a:rPr lang="en-US" sz="1600" dirty="0">
                <a:solidFill>
                  <a:srgbClr val="29BA74"/>
                </a:solidFill>
              </a:rPr>
              <a:t>  </a:t>
            </a:r>
            <a:r>
              <a:rPr lang="en-US" sz="1200" dirty="0">
                <a:solidFill>
                  <a:srgbClr val="29BA74"/>
                </a:solidFill>
              </a:rPr>
              <a:t>Data Science applications:</a:t>
            </a:r>
          </a:p>
          <a:p>
            <a:r>
              <a:rPr lang="en-US" sz="1200" dirty="0">
                <a:solidFill>
                  <a:srgbClr val="575757"/>
                </a:solidFill>
                <a:latin typeface="Trebuchet MS" panose="020B0603020202020204" pitchFamily="34" charset="0"/>
              </a:rPr>
              <a:t>- Timer, profiling</a:t>
            </a:r>
          </a:p>
          <a:p>
            <a:r>
              <a:rPr lang="en-US" sz="1200" dirty="0">
                <a:solidFill>
                  <a:srgbClr val="575757"/>
                </a:solidFill>
                <a:latin typeface="Trebuchet MS" panose="020B0603020202020204" pitchFamily="34" charset="0"/>
              </a:rPr>
              <a:t>- Open / close connection!</a:t>
            </a:r>
          </a:p>
          <a:p>
            <a:r>
              <a:rPr lang="en-US" sz="1200" dirty="0">
                <a:solidFill>
                  <a:srgbClr val="575757"/>
                </a:solidFill>
                <a:latin typeface="Trebuchet MS" panose="020B0603020202020204" pitchFamily="34" charset="0"/>
              </a:rPr>
              <a:t>- Lock / release</a:t>
            </a:r>
          </a:p>
          <a:p>
            <a:r>
              <a:rPr lang="en-US" sz="1200" dirty="0">
                <a:solidFill>
                  <a:srgbClr val="575757"/>
                </a:solidFill>
                <a:latin typeface="Trebuchet MS" panose="020B0603020202020204" pitchFamily="34" charset="0"/>
              </a:rPr>
              <a:t>- Start / Stop</a:t>
            </a:r>
            <a:endParaRPr lang="en-US" sz="1600" dirty="0">
              <a:solidFill>
                <a:srgbClr val="575757"/>
              </a:solidFill>
            </a:endParaRPr>
          </a:p>
        </p:txBody>
      </p:sp>
      <p:grpSp>
        <p:nvGrpSpPr>
          <p:cNvPr id="33" name="Group 32"/>
          <p:cNvGrpSpPr/>
          <p:nvPr/>
        </p:nvGrpSpPr>
        <p:grpSpPr>
          <a:xfrm>
            <a:off x="6757804" y="5658611"/>
            <a:ext cx="1966333" cy="457200"/>
            <a:chOff x="7558667" y="1346247"/>
            <a:chExt cx="1290058" cy="457200"/>
          </a:xfrm>
        </p:grpSpPr>
        <p:cxnSp>
          <p:nvCxnSpPr>
            <p:cNvPr id="34" name="Straight Connector 33"/>
            <p:cNvCxnSpPr/>
            <p:nvPr/>
          </p:nvCxnSpPr>
          <p:spPr>
            <a:xfrm>
              <a:off x="7558667" y="1574847"/>
              <a:ext cx="323773" cy="0"/>
            </a:xfrm>
            <a:prstGeom prst="line">
              <a:avLst/>
            </a:prstGeom>
            <a:noFill/>
            <a:ln w="19050" cap="rnd" cmpd="sng" algn="ctr">
              <a:solidFill>
                <a:srgbClr val="6E6F73"/>
              </a:solidFill>
              <a:prstDash val="solid"/>
              <a:round/>
              <a:headEnd type="oval" w="med" len="med"/>
              <a:tailEnd type="none" w="sm" len="sm"/>
            </a:ln>
            <a:effectLst/>
          </p:spPr>
        </p:cxnSp>
        <p:cxnSp>
          <p:nvCxnSpPr>
            <p:cNvPr id="35" name="Straight Connector 34"/>
            <p:cNvCxnSpPr/>
            <p:nvPr/>
          </p:nvCxnSpPr>
          <p:spPr>
            <a:xfrm>
              <a:off x="7896225" y="1346247"/>
              <a:ext cx="0" cy="457200"/>
            </a:xfrm>
            <a:prstGeom prst="line">
              <a:avLst/>
            </a:prstGeom>
            <a:ln w="2857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913299" y="1457325"/>
              <a:ext cx="935426" cy="2350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Example</a:t>
              </a:r>
            </a:p>
            <a:p>
              <a:r>
                <a:rPr lang="en-US" sz="1400" dirty="0">
                  <a:solidFill>
                    <a:srgbClr val="575757"/>
                  </a:solidFill>
                </a:rPr>
                <a:t>next slide</a:t>
              </a:r>
            </a:p>
          </p:txBody>
        </p:sp>
      </p:grpSp>
      <p:sp>
        <p:nvSpPr>
          <p:cNvPr id="26" name="Rectangle 25"/>
          <p:cNvSpPr/>
          <p:nvPr/>
        </p:nvSpPr>
        <p:spPr>
          <a:xfrm>
            <a:off x="4473831" y="2210947"/>
            <a:ext cx="5147553" cy="1785104"/>
          </a:xfrm>
          <a:prstGeom prst="rect">
            <a:avLst/>
          </a:prstGeom>
          <a:solidFill>
            <a:srgbClr val="FFFFFF"/>
          </a:solidFill>
          <a:ln w="9525" cap="flat" cmpd="sng" algn="ctr">
            <a:solidFill>
              <a:srgbClr val="7F7F7F"/>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datetim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TimeI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ContextDecorato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enter__(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lf.start</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datetime.datetime.now</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elf.star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exit__(self, type, value, traceback):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datetime.datetime.now</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elf.star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total_seconds</a:t>
            </a:r>
            <a:r>
              <a:rPr lang="fr-FR" sz="1100" dirty="0">
                <a:solidFill>
                  <a:srgbClr val="000000"/>
                </a:solidFill>
                <a:latin typeface="Consolas" panose="020B0609020204030204" pitchFamily="49" charset="0"/>
              </a:rPr>
              <a:t>()</a:t>
            </a:r>
            <a:endParaRPr lang="fr-FR" sz="1100" b="0" i="0" dirty="0">
              <a:solidFill>
                <a:srgbClr val="5C5C5C"/>
              </a:solidFill>
              <a:effectLst/>
              <a:latin typeface="Consolas" panose="020B0609020204030204" pitchFamily="49" charset="0"/>
            </a:endParaRPr>
          </a:p>
        </p:txBody>
      </p:sp>
      <p:sp>
        <p:nvSpPr>
          <p:cNvPr id="28" name="Rectangle 27"/>
          <p:cNvSpPr/>
          <p:nvPr/>
        </p:nvSpPr>
        <p:spPr>
          <a:xfrm>
            <a:off x="9784132" y="2213283"/>
            <a:ext cx="1601821" cy="1215717"/>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foo():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dirty="0">
                <a:solidFill>
                  <a:srgbClr val="008200"/>
                </a:solidFill>
                <a:latin typeface="Consolas" panose="020B0609020204030204" pitchFamily="49" charset="0"/>
              </a:rPr>
              <a:t># do something</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with </a:t>
            </a:r>
            <a:r>
              <a:rPr lang="en-US" sz="1100" dirty="0" err="1">
                <a:solidFill>
                  <a:srgbClr val="000000"/>
                </a:solidFill>
                <a:latin typeface="Consolas" panose="020B0609020204030204" pitchFamily="49" charset="0"/>
              </a:rPr>
              <a:t>TimeIt</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foo()</a:t>
            </a:r>
            <a:r>
              <a:rPr lang="en-US" dirty="0">
                <a:solidFill>
                  <a:srgbClr val="000000"/>
                </a:solidFill>
                <a:latin typeface="Consolas" panose="020B0609020204030204" pitchFamily="49" charset="0"/>
              </a:rPr>
              <a:t> </a:t>
            </a:r>
            <a:endParaRPr lang="en-US" b="0" i="0" dirty="0">
              <a:solidFill>
                <a:srgbClr val="5C5C5C"/>
              </a:solidFill>
              <a:effectLst/>
              <a:latin typeface="Consolas" panose="020B0609020204030204" pitchFamily="49" charset="0"/>
            </a:endParaRPr>
          </a:p>
        </p:txBody>
      </p:sp>
      <p:grpSp>
        <p:nvGrpSpPr>
          <p:cNvPr id="31" name="Group 30"/>
          <p:cNvGrpSpPr/>
          <p:nvPr/>
        </p:nvGrpSpPr>
        <p:grpSpPr>
          <a:xfrm>
            <a:off x="4459454" y="5146761"/>
            <a:ext cx="466343" cy="432640"/>
            <a:chOff x="5275668" y="2608671"/>
            <a:chExt cx="1640658" cy="1640659"/>
          </a:xfrm>
        </p:grpSpPr>
        <p:sp>
          <p:nvSpPr>
            <p:cNvPr id="32" name="Oval 31"/>
            <p:cNvSpPr>
              <a:spLocks noChangeAspect="1"/>
            </p:cNvSpPr>
            <p:nvPr/>
          </p:nvSpPr>
          <p:spPr>
            <a:xfrm>
              <a:off x="5275668" y="2608671"/>
              <a:ext cx="1640658" cy="1640659"/>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200" kern="0" dirty="0">
                <a:solidFill>
                  <a:schemeClr val="tx1"/>
                </a:solidFill>
              </a:endParaRPr>
            </a:p>
          </p:txBody>
        </p:sp>
        <p:sp>
          <p:nvSpPr>
            <p:cNvPr id="38" name="AutoShape 34">
              <a:extLst>
                <a:ext uri="{FF2B5EF4-FFF2-40B4-BE49-F238E27FC236}">
                  <a16:creationId xmlns:a16="http://schemas.microsoft.com/office/drawing/2014/main" xmlns="" id="{53EBCFA3-42E5-408A-AB98-5437639B6F86}"/>
                </a:ext>
              </a:extLst>
            </p:cNvPr>
            <p:cNvSpPr>
              <a:spLocks noChangeAspect="1" noChangeArrowheads="1" noTextEdit="1"/>
            </p:cNvSpPr>
            <p:nvPr/>
          </p:nvSpPr>
          <p:spPr bwMode="auto">
            <a:xfrm>
              <a:off x="5344504" y="2674579"/>
              <a:ext cx="1502990" cy="1504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bcgBugs_GrowthChart"/>
          <p:cNvGrpSpPr>
            <a:grpSpLocks noChangeAspect="1"/>
          </p:cNvGrpSpPr>
          <p:nvPr/>
        </p:nvGrpSpPr>
        <p:grpSpPr bwMode="auto">
          <a:xfrm>
            <a:off x="4520515" y="5190214"/>
            <a:ext cx="344220" cy="344557"/>
            <a:chOff x="2818" y="1137"/>
            <a:chExt cx="2044" cy="2046"/>
          </a:xfrm>
        </p:grpSpPr>
        <p:sp>
          <p:nvSpPr>
            <p:cNvPr id="24"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4"/>
            <p:cNvSpPr>
              <a:spLocks noEditPoints="1"/>
            </p:cNvSpPr>
            <p:nvPr/>
          </p:nvSpPr>
          <p:spPr bwMode="auto">
            <a:xfrm>
              <a:off x="3064" y="1383"/>
              <a:ext cx="1555" cy="1556"/>
            </a:xfrm>
            <a:custGeom>
              <a:avLst/>
              <a:gdLst>
                <a:gd name="T0" fmla="*/ 162 w 760"/>
                <a:gd name="T1" fmla="*/ 464 h 760"/>
                <a:gd name="T2" fmla="*/ 162 w 760"/>
                <a:gd name="T3" fmla="*/ 738 h 760"/>
                <a:gd name="T4" fmla="*/ 140 w 760"/>
                <a:gd name="T5" fmla="*/ 760 h 760"/>
                <a:gd name="T6" fmla="*/ 22 w 760"/>
                <a:gd name="T7" fmla="*/ 760 h 760"/>
                <a:gd name="T8" fmla="*/ 0 w 760"/>
                <a:gd name="T9" fmla="*/ 738 h 760"/>
                <a:gd name="T10" fmla="*/ 0 w 760"/>
                <a:gd name="T11" fmla="*/ 464 h 760"/>
                <a:gd name="T12" fmla="*/ 22 w 760"/>
                <a:gd name="T13" fmla="*/ 442 h 760"/>
                <a:gd name="T14" fmla="*/ 140 w 760"/>
                <a:gd name="T15" fmla="*/ 442 h 760"/>
                <a:gd name="T16" fmla="*/ 162 w 760"/>
                <a:gd name="T17" fmla="*/ 464 h 760"/>
                <a:gd name="T18" fmla="*/ 340 w 760"/>
                <a:gd name="T19" fmla="*/ 318 h 760"/>
                <a:gd name="T20" fmla="*/ 221 w 760"/>
                <a:gd name="T21" fmla="*/ 318 h 760"/>
                <a:gd name="T22" fmla="*/ 199 w 760"/>
                <a:gd name="T23" fmla="*/ 340 h 760"/>
                <a:gd name="T24" fmla="*/ 199 w 760"/>
                <a:gd name="T25" fmla="*/ 738 h 760"/>
                <a:gd name="T26" fmla="*/ 221 w 760"/>
                <a:gd name="T27" fmla="*/ 760 h 760"/>
                <a:gd name="T28" fmla="*/ 340 w 760"/>
                <a:gd name="T29" fmla="*/ 760 h 760"/>
                <a:gd name="T30" fmla="*/ 362 w 760"/>
                <a:gd name="T31" fmla="*/ 738 h 760"/>
                <a:gd name="T32" fmla="*/ 362 w 760"/>
                <a:gd name="T33" fmla="*/ 340 h 760"/>
                <a:gd name="T34" fmla="*/ 340 w 760"/>
                <a:gd name="T35" fmla="*/ 318 h 760"/>
                <a:gd name="T36" fmla="*/ 539 w 760"/>
                <a:gd name="T37" fmla="*/ 179 h 760"/>
                <a:gd name="T38" fmla="*/ 420 w 760"/>
                <a:gd name="T39" fmla="*/ 179 h 760"/>
                <a:gd name="T40" fmla="*/ 398 w 760"/>
                <a:gd name="T41" fmla="*/ 201 h 760"/>
                <a:gd name="T42" fmla="*/ 398 w 760"/>
                <a:gd name="T43" fmla="*/ 738 h 760"/>
                <a:gd name="T44" fmla="*/ 420 w 760"/>
                <a:gd name="T45" fmla="*/ 760 h 760"/>
                <a:gd name="T46" fmla="*/ 539 w 760"/>
                <a:gd name="T47" fmla="*/ 760 h 760"/>
                <a:gd name="T48" fmla="*/ 561 w 760"/>
                <a:gd name="T49" fmla="*/ 738 h 760"/>
                <a:gd name="T50" fmla="*/ 561 w 760"/>
                <a:gd name="T51" fmla="*/ 201 h 760"/>
                <a:gd name="T52" fmla="*/ 539 w 760"/>
                <a:gd name="T53" fmla="*/ 179 h 760"/>
                <a:gd name="T54" fmla="*/ 738 w 760"/>
                <a:gd name="T55" fmla="*/ 0 h 760"/>
                <a:gd name="T56" fmla="*/ 620 w 760"/>
                <a:gd name="T57" fmla="*/ 0 h 760"/>
                <a:gd name="T58" fmla="*/ 598 w 760"/>
                <a:gd name="T59" fmla="*/ 22 h 760"/>
                <a:gd name="T60" fmla="*/ 598 w 760"/>
                <a:gd name="T61" fmla="*/ 738 h 760"/>
                <a:gd name="T62" fmla="*/ 620 w 760"/>
                <a:gd name="T63" fmla="*/ 760 h 760"/>
                <a:gd name="T64" fmla="*/ 738 w 760"/>
                <a:gd name="T65" fmla="*/ 760 h 760"/>
                <a:gd name="T66" fmla="*/ 760 w 760"/>
                <a:gd name="T67" fmla="*/ 738 h 760"/>
                <a:gd name="T68" fmla="*/ 760 w 760"/>
                <a:gd name="T69" fmla="*/ 22 h 760"/>
                <a:gd name="T70" fmla="*/ 738 w 760"/>
                <a:gd name="T7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0" h="760">
                  <a:moveTo>
                    <a:pt x="162" y="464"/>
                  </a:moveTo>
                  <a:cubicBezTo>
                    <a:pt x="162" y="738"/>
                    <a:pt x="162" y="738"/>
                    <a:pt x="162" y="738"/>
                  </a:cubicBezTo>
                  <a:cubicBezTo>
                    <a:pt x="162" y="751"/>
                    <a:pt x="152" y="760"/>
                    <a:pt x="140" y="760"/>
                  </a:cubicBezTo>
                  <a:cubicBezTo>
                    <a:pt x="22" y="760"/>
                    <a:pt x="22" y="760"/>
                    <a:pt x="22" y="760"/>
                  </a:cubicBezTo>
                  <a:cubicBezTo>
                    <a:pt x="9" y="760"/>
                    <a:pt x="0" y="751"/>
                    <a:pt x="0" y="738"/>
                  </a:cubicBezTo>
                  <a:cubicBezTo>
                    <a:pt x="0" y="464"/>
                    <a:pt x="0" y="464"/>
                    <a:pt x="0" y="464"/>
                  </a:cubicBezTo>
                  <a:cubicBezTo>
                    <a:pt x="0" y="452"/>
                    <a:pt x="9" y="442"/>
                    <a:pt x="22" y="442"/>
                  </a:cubicBezTo>
                  <a:cubicBezTo>
                    <a:pt x="140" y="442"/>
                    <a:pt x="140" y="442"/>
                    <a:pt x="140" y="442"/>
                  </a:cubicBezTo>
                  <a:cubicBezTo>
                    <a:pt x="152" y="442"/>
                    <a:pt x="162" y="452"/>
                    <a:pt x="162" y="464"/>
                  </a:cubicBezTo>
                  <a:close/>
                  <a:moveTo>
                    <a:pt x="340" y="318"/>
                  </a:moveTo>
                  <a:cubicBezTo>
                    <a:pt x="221" y="318"/>
                    <a:pt x="221" y="318"/>
                    <a:pt x="221" y="318"/>
                  </a:cubicBezTo>
                  <a:cubicBezTo>
                    <a:pt x="209" y="318"/>
                    <a:pt x="199" y="328"/>
                    <a:pt x="199" y="340"/>
                  </a:cubicBezTo>
                  <a:cubicBezTo>
                    <a:pt x="199" y="738"/>
                    <a:pt x="199" y="738"/>
                    <a:pt x="199" y="738"/>
                  </a:cubicBezTo>
                  <a:cubicBezTo>
                    <a:pt x="199" y="751"/>
                    <a:pt x="209" y="760"/>
                    <a:pt x="221" y="760"/>
                  </a:cubicBezTo>
                  <a:cubicBezTo>
                    <a:pt x="340" y="760"/>
                    <a:pt x="340" y="760"/>
                    <a:pt x="340" y="760"/>
                  </a:cubicBezTo>
                  <a:cubicBezTo>
                    <a:pt x="352" y="760"/>
                    <a:pt x="362" y="751"/>
                    <a:pt x="362" y="738"/>
                  </a:cubicBezTo>
                  <a:cubicBezTo>
                    <a:pt x="362" y="340"/>
                    <a:pt x="362" y="340"/>
                    <a:pt x="362" y="340"/>
                  </a:cubicBezTo>
                  <a:cubicBezTo>
                    <a:pt x="362" y="328"/>
                    <a:pt x="352" y="318"/>
                    <a:pt x="340" y="318"/>
                  </a:cubicBezTo>
                  <a:close/>
                  <a:moveTo>
                    <a:pt x="539" y="179"/>
                  </a:moveTo>
                  <a:cubicBezTo>
                    <a:pt x="420" y="179"/>
                    <a:pt x="420" y="179"/>
                    <a:pt x="420" y="179"/>
                  </a:cubicBezTo>
                  <a:cubicBezTo>
                    <a:pt x="408" y="179"/>
                    <a:pt x="398" y="189"/>
                    <a:pt x="398" y="201"/>
                  </a:cubicBezTo>
                  <a:cubicBezTo>
                    <a:pt x="398" y="738"/>
                    <a:pt x="398" y="738"/>
                    <a:pt x="398" y="738"/>
                  </a:cubicBezTo>
                  <a:cubicBezTo>
                    <a:pt x="398" y="751"/>
                    <a:pt x="408" y="760"/>
                    <a:pt x="420" y="760"/>
                  </a:cubicBezTo>
                  <a:cubicBezTo>
                    <a:pt x="539" y="760"/>
                    <a:pt x="539" y="760"/>
                    <a:pt x="539" y="760"/>
                  </a:cubicBezTo>
                  <a:cubicBezTo>
                    <a:pt x="551" y="760"/>
                    <a:pt x="561" y="751"/>
                    <a:pt x="561" y="738"/>
                  </a:cubicBezTo>
                  <a:cubicBezTo>
                    <a:pt x="561" y="201"/>
                    <a:pt x="561" y="201"/>
                    <a:pt x="561" y="201"/>
                  </a:cubicBezTo>
                  <a:cubicBezTo>
                    <a:pt x="561" y="189"/>
                    <a:pt x="551" y="179"/>
                    <a:pt x="539" y="179"/>
                  </a:cubicBezTo>
                  <a:close/>
                  <a:moveTo>
                    <a:pt x="738" y="0"/>
                  </a:moveTo>
                  <a:cubicBezTo>
                    <a:pt x="620" y="0"/>
                    <a:pt x="620" y="0"/>
                    <a:pt x="620" y="0"/>
                  </a:cubicBezTo>
                  <a:cubicBezTo>
                    <a:pt x="608" y="0"/>
                    <a:pt x="598" y="9"/>
                    <a:pt x="598" y="22"/>
                  </a:cubicBezTo>
                  <a:cubicBezTo>
                    <a:pt x="598" y="738"/>
                    <a:pt x="598" y="738"/>
                    <a:pt x="598" y="738"/>
                  </a:cubicBezTo>
                  <a:cubicBezTo>
                    <a:pt x="598" y="751"/>
                    <a:pt x="608" y="760"/>
                    <a:pt x="620" y="760"/>
                  </a:cubicBezTo>
                  <a:cubicBezTo>
                    <a:pt x="738" y="760"/>
                    <a:pt x="738" y="760"/>
                    <a:pt x="738" y="760"/>
                  </a:cubicBezTo>
                  <a:cubicBezTo>
                    <a:pt x="751" y="760"/>
                    <a:pt x="760" y="751"/>
                    <a:pt x="760" y="738"/>
                  </a:cubicBezTo>
                  <a:cubicBezTo>
                    <a:pt x="760" y="22"/>
                    <a:pt x="760" y="22"/>
                    <a:pt x="760" y="22"/>
                  </a:cubicBezTo>
                  <a:cubicBezTo>
                    <a:pt x="760" y="9"/>
                    <a:pt x="751" y="0"/>
                    <a:pt x="73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66387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47439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56"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smtClean="0"/>
              <a:t>Context </a:t>
            </a:r>
            <a:r>
              <a:rPr lang="en-US" dirty="0"/>
              <a:t>manager </a:t>
            </a:r>
            <a:r>
              <a:rPr lang="en-US" dirty="0" smtClean="0"/>
              <a:t>to </a:t>
            </a:r>
            <a:r>
              <a:rPr lang="en-US" dirty="0"/>
              <a:t>safely close connection</a:t>
            </a:r>
          </a:p>
        </p:txBody>
      </p:sp>
      <p:sp>
        <p:nvSpPr>
          <p:cNvPr id="5" name="ee4pContent1"/>
          <p:cNvSpPr txBox="1"/>
          <p:nvPr/>
        </p:nvSpPr>
        <p:spPr>
          <a:xfrm>
            <a:off x="715124" y="1123603"/>
            <a:ext cx="8295525" cy="5458172"/>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None/>
            </a:pP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paramiko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b="1" dirty="0">
                <a:solidFill>
                  <a:srgbClr val="006699"/>
                </a:solidFill>
                <a:latin typeface="Consolas" panose="020B0609020204030204" pitchFamily="49" charset="0"/>
              </a:rPr>
              <a:t>class</a:t>
            </a:r>
            <a:r>
              <a:rPr lang="en-US" sz="1100" dirty="0">
                <a:solidFill>
                  <a:srgbClr val="000000"/>
                </a:solidFill>
                <a:latin typeface="Consolas" panose="020B0609020204030204" pitchFamily="49" charset="0"/>
              </a:rPr>
              <a:t> SshConnection: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dirty="0">
                <a:solidFill>
                  <a:srgbClr val="008200"/>
                </a:solidFill>
                <a:latin typeface="Consolas" panose="020B0609020204030204" pitchFamily="49" charset="0"/>
              </a:rPr>
              <a:t>""" The class is an adapter of a **paramiko.SSHClient**. """</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__init__(self):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self._client = paramiko.SSHClien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self._client.connect(</a:t>
            </a:r>
            <a:r>
              <a:rPr lang="en-US" sz="1100" dirty="0">
                <a:solidFill>
                  <a:srgbClr val="0000FF"/>
                </a:solidFill>
                <a:latin typeface="Consolas" panose="020B0609020204030204" pitchFamily="49" charset="0"/>
              </a:rPr>
              <a:t>'ssh.example.com'</a:t>
            </a:r>
            <a:r>
              <a:rPr lang="en-US" sz="1100" dirty="0">
                <a:solidFill>
                  <a:srgbClr val="000000"/>
                </a:solidFill>
                <a:latin typeface="Consolas" panose="020B0609020204030204" pitchFamily="49" charset="0"/>
              </a:rPr>
              <a:t>, username=</a:t>
            </a:r>
            <a:r>
              <a:rPr lang="en-US" sz="1100" dirty="0">
                <a:solidFill>
                  <a:srgbClr val="0000FF"/>
                </a:solidFill>
                <a:latin typeface="Consolas" panose="020B0609020204030204" pitchFamily="49" charset="0"/>
              </a:rPr>
              <a:t>'strongbad'</a:t>
            </a:r>
            <a:r>
              <a:rPr lang="en-US" sz="1100" dirty="0">
                <a:solidFill>
                  <a:srgbClr val="000000"/>
                </a:solidFill>
                <a:latin typeface="Consolas" panose="020B0609020204030204" pitchFamily="49" charset="0"/>
              </a:rPr>
              <a:t>, password=</a:t>
            </a:r>
            <a:r>
              <a:rPr lang="en-US" sz="1100" dirty="0">
                <a:solidFill>
                  <a:srgbClr val="0000FF"/>
                </a:solidFill>
                <a:latin typeface="Consolas" panose="020B0609020204030204" pitchFamily="49" charset="0"/>
              </a:rPr>
              <a:t>'thecheat'</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__enter__(self):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dirty="0">
                <a:solidFill>
                  <a:srgbClr val="008200"/>
                </a:solidFill>
                <a:latin typeface="Consolas" panose="020B0609020204030204" pitchFamily="49" charset="0"/>
              </a:rPr>
              <a:t>""" Enter the runtime context related to this object.</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8200"/>
                </a:solidFill>
                <a:latin typeface="Consolas" panose="020B0609020204030204" pitchFamily="49" charset="0"/>
              </a:rPr>
              <a:t>        </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8200"/>
                </a:solidFill>
                <a:latin typeface="Consolas" panose="020B0609020204030204" pitchFamily="49" charset="0"/>
              </a:rPr>
              <a:t>        In other words, an instance of this object has to be returned as it'll be used as a SSH connection.</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8200"/>
                </a:solidFill>
                <a:latin typeface="Consolas" panose="020B0609020204030204" pitchFamily="49" charset="0"/>
              </a:rPr>
              <a:t>        """</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return</a:t>
            </a:r>
            <a:r>
              <a:rPr lang="en-US" sz="1100" dirty="0">
                <a:solidFill>
                  <a:srgbClr val="000000"/>
                </a:solidFill>
                <a:latin typeface="Consolas" panose="020B0609020204030204" pitchFamily="49" charset="0"/>
              </a:rPr>
              <a:t> self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__exit__(self, exc_type, exc_val, exc_tb):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dirty="0">
                <a:solidFill>
                  <a:srgbClr val="008200"/>
                </a:solidFill>
                <a:latin typeface="Consolas" panose="020B0609020204030204" pitchFamily="49" charset="0"/>
              </a:rPr>
              <a:t>""" Exit the runtime context related to this object.</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8200"/>
                </a:solidFill>
                <a:latin typeface="Consolas" panose="020B0609020204030204" pitchFamily="49" charset="0"/>
              </a:rPr>
              <a:t>        </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8200"/>
                </a:solidFill>
                <a:latin typeface="Consolas" panose="020B0609020204030204" pitchFamily="49" charset="0"/>
              </a:rPr>
              <a:t>        The connection has to be closed here.</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8200"/>
                </a:solidFill>
                <a:latin typeface="Consolas" panose="020B0609020204030204" pitchFamily="49" charset="0"/>
              </a:rPr>
              <a:t>        """</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if</a:t>
            </a:r>
            <a:r>
              <a:rPr lang="en-US" sz="1100" dirty="0">
                <a:solidFill>
                  <a:srgbClr val="000000"/>
                </a:solidFill>
                <a:latin typeface="Consolas" panose="020B0609020204030204" pitchFamily="49" charset="0"/>
              </a:rPr>
              <a:t> self._clien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self._client.close()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output(self, command, timeout=60):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return</a:t>
            </a:r>
            <a:r>
              <a:rPr lang="en-US" sz="1100" dirty="0">
                <a:solidFill>
                  <a:srgbClr val="000000"/>
                </a:solidFill>
                <a:latin typeface="Consolas" panose="020B0609020204030204" pitchFamily="49" charset="0"/>
              </a:rPr>
              <a:t> self._client.exec_command(command, timeout=timeou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with SshConnection() as connection: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a:t>
            </a:r>
            <a:r>
              <a:rPr lang="en-US" sz="1100" dirty="0">
                <a:solidFill>
                  <a:srgbClr val="008200"/>
                </a:solidFill>
                <a:latin typeface="Consolas" panose="020B0609020204030204" pitchFamily="49" charset="0"/>
              </a:rPr>
              <a:t># some interaction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pPr>
              <a:buNone/>
            </a:pPr>
            <a:r>
              <a:rPr lang="en-US" sz="1100" dirty="0">
                <a:solidFill>
                  <a:srgbClr val="000000"/>
                </a:solidFill>
                <a:latin typeface="Consolas" panose="020B0609020204030204" pitchFamily="49" charset="0"/>
              </a:rPr>
              <a:t>    connection.output(</a:t>
            </a:r>
            <a:r>
              <a:rPr lang="en-US" sz="1100" dirty="0">
                <a:solidFill>
                  <a:srgbClr val="0000FF"/>
                </a:solidFill>
                <a:latin typeface="Consolas" panose="020B0609020204030204" pitchFamily="49" charset="0"/>
              </a:rPr>
              <a:t>'...'</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endParaRPr lang="en-US" sz="1100" dirty="0">
              <a:latin typeface="+mn-lt"/>
            </a:endParaRPr>
          </a:p>
        </p:txBody>
      </p:sp>
      <p:grpSp>
        <p:nvGrpSpPr>
          <p:cNvPr id="6" name="Group 5"/>
          <p:cNvGrpSpPr/>
          <p:nvPr/>
        </p:nvGrpSpPr>
        <p:grpSpPr>
          <a:xfrm>
            <a:off x="4177291" y="5984922"/>
            <a:ext cx="2271133" cy="457200"/>
            <a:chOff x="7558667" y="1346247"/>
            <a:chExt cx="1290058" cy="457200"/>
          </a:xfrm>
        </p:grpSpPr>
        <p:cxnSp>
          <p:nvCxnSpPr>
            <p:cNvPr id="7" name="Straight Connector 6"/>
            <p:cNvCxnSpPr/>
            <p:nvPr/>
          </p:nvCxnSpPr>
          <p:spPr>
            <a:xfrm>
              <a:off x="7558667" y="1574847"/>
              <a:ext cx="323773" cy="0"/>
            </a:xfrm>
            <a:prstGeom prst="line">
              <a:avLst/>
            </a:prstGeom>
            <a:noFill/>
            <a:ln w="19050" cap="rnd" cmpd="sng" algn="ctr">
              <a:solidFill>
                <a:srgbClr val="6E6F73"/>
              </a:solidFill>
              <a:prstDash val="solid"/>
              <a:round/>
              <a:headEnd type="oval" w="med" len="med"/>
              <a:tailEnd type="none" w="sm" len="sm"/>
            </a:ln>
            <a:effectLst/>
          </p:spPr>
        </p:cxnSp>
        <p:cxnSp>
          <p:nvCxnSpPr>
            <p:cNvPr id="8" name="Straight Connector 7"/>
            <p:cNvCxnSpPr/>
            <p:nvPr/>
          </p:nvCxnSpPr>
          <p:spPr>
            <a:xfrm>
              <a:off x="7896225" y="1346247"/>
              <a:ext cx="0" cy="457200"/>
            </a:xfrm>
            <a:prstGeom prst="line">
              <a:avLst/>
            </a:prstGeom>
            <a:ln w="2857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913299" y="1457325"/>
              <a:ext cx="935426" cy="2350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Connection is automatically closed</a:t>
              </a:r>
            </a:p>
          </p:txBody>
        </p:sp>
      </p:grpSp>
    </p:spTree>
    <p:extLst>
      <p:ext uri="{BB962C8B-B14F-4D97-AF65-F5344CB8AC3E}">
        <p14:creationId xmlns:p14="http://schemas.microsoft.com/office/powerpoint/2010/main" val="358012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hlinkClick r:id="rId13" action="ppaction://hlinksldjump"/>
          </p:cNvPr>
          <p:cNvSpPr/>
          <p:nvPr>
            <p:custDataLst>
              <p:tags r:id="rId2"/>
            </p:custDataLst>
          </p:nvPr>
        </p:nvSpPr>
        <p:spPr>
          <a:xfrm>
            <a:off x="5166432" y="4164441"/>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Tests</a:t>
            </a:r>
          </a:p>
        </p:txBody>
      </p:sp>
      <p:sp>
        <p:nvSpPr>
          <p:cNvPr id="10" name="Rectangle 9">
            <a:hlinkClick r:id="rId14" action="ppaction://hlinksldjump"/>
          </p:cNvPr>
          <p:cNvSpPr/>
          <p:nvPr>
            <p:custDataLst>
              <p:tags r:id="rId3"/>
            </p:custDataLst>
          </p:nvPr>
        </p:nvSpPr>
        <p:spPr>
          <a:xfrm>
            <a:off x="5166432" y="384341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Built-in functions</a:t>
            </a:r>
          </a:p>
        </p:txBody>
      </p:sp>
      <p:sp>
        <p:nvSpPr>
          <p:cNvPr id="9" name="Rectangle 8">
            <a:hlinkClick r:id="rId15" action="ppaction://hlinksldjump"/>
          </p:cNvPr>
          <p:cNvSpPr/>
          <p:nvPr>
            <p:custDataLst>
              <p:tags r:id="rId4"/>
            </p:custDataLst>
          </p:nvPr>
        </p:nvSpPr>
        <p:spPr>
          <a:xfrm>
            <a:off x="5166432" y="360493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Data Encapsulation, Inheritance &amp; Polymorphism</a:t>
            </a:r>
          </a:p>
        </p:txBody>
      </p:sp>
      <p:sp>
        <p:nvSpPr>
          <p:cNvPr id="8" name="Oval 7"/>
          <p:cNvSpPr/>
          <p:nvPr>
            <p:custDataLst>
              <p:tags r:id="rId5"/>
            </p:custDataLst>
          </p:nvPr>
        </p:nvSpPr>
        <p:spPr>
          <a:xfrm>
            <a:off x="4714058" y="331398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Trebuchet MS" panose="020B0603020202020204" pitchFamily="34" charset="0"/>
            </a:endParaRPr>
          </a:p>
        </p:txBody>
      </p:sp>
      <p:pic>
        <p:nvPicPr>
          <p:cNvPr id="7" name="Picture 6"/>
          <p:cNvPicPr>
            <a:picLocks/>
          </p:cNvPicPr>
          <p:nvPr>
            <p:custDataLst>
              <p:tags r:id="rId6"/>
            </p:custDataLst>
          </p:nvPr>
        </p:nvPicPr>
        <p:blipFill>
          <a:blip r:embed="rId16">
            <a:extLst>
              <a:ext uri="{28A0092B-C50C-407E-A947-70E740481C1C}">
                <a14:useLocalDpi xmlns:a14="http://schemas.microsoft.com/office/drawing/2010/main" val="0"/>
              </a:ext>
            </a:extLst>
          </a:blip>
          <a:stretch>
            <a:fillRect/>
          </a:stretch>
        </p:blipFill>
        <p:spPr>
          <a:xfrm>
            <a:off x="4714058" y="3313987"/>
            <a:ext cx="293147" cy="292608"/>
          </a:xfrm>
          <a:prstGeom prst="rect">
            <a:avLst/>
          </a:prstGeom>
        </p:spPr>
      </p:pic>
      <p:sp>
        <p:nvSpPr>
          <p:cNvPr id="6" name="Rectangle 5">
            <a:hlinkClick r:id="rId17" action="ppaction://hlinksldjump"/>
          </p:cNvPr>
          <p:cNvSpPr/>
          <p:nvPr>
            <p:custDataLst>
              <p:tags r:id="rId7"/>
            </p:custDataLst>
          </p:nvPr>
        </p:nvSpPr>
        <p:spPr>
          <a:xfrm>
            <a:off x="5166432" y="336645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100000"/>
                  </a:schemeClr>
                </a:solidFill>
                <a:latin typeface="Trebuchet MS" panose="020B0603020202020204" pitchFamily="34" charset="0"/>
              </a:rPr>
              <a:t>Property</a:t>
            </a:r>
          </a:p>
        </p:txBody>
      </p:sp>
      <p:sp>
        <p:nvSpPr>
          <p:cNvPr id="5" name="Rectangle 4">
            <a:hlinkClick r:id="rId18" action="ppaction://hlinksldjump"/>
          </p:cNvPr>
          <p:cNvSpPr/>
          <p:nvPr>
            <p:custDataLst>
              <p:tags r:id="rId8"/>
            </p:custDataLst>
          </p:nvPr>
        </p:nvSpPr>
        <p:spPr>
          <a:xfrm>
            <a:off x="5166432" y="312797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Class, Objects and Methods</a:t>
            </a:r>
          </a:p>
        </p:txBody>
      </p:sp>
      <p:sp>
        <p:nvSpPr>
          <p:cNvPr id="4" name="Rectangle 3">
            <a:hlinkClick r:id="rId19" action="ppaction://hlinksldjump"/>
          </p:cNvPr>
          <p:cNvSpPr/>
          <p:nvPr>
            <p:custDataLst>
              <p:tags r:id="rId9"/>
            </p:custDataLst>
          </p:nvPr>
        </p:nvSpPr>
        <p:spPr>
          <a:xfrm>
            <a:off x="5166432" y="2826910"/>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OOP Fundamentals</a:t>
            </a:r>
          </a:p>
        </p:txBody>
      </p:sp>
      <p:sp>
        <p:nvSpPr>
          <p:cNvPr id="3" name="Rectangle 2">
            <a:hlinkClick r:id="rId20" action="ppaction://hlinksldjump"/>
          </p:cNvPr>
          <p:cNvSpPr/>
          <p:nvPr>
            <p:custDataLst>
              <p:tags r:id="rId10"/>
            </p:custDataLst>
          </p:nvPr>
        </p:nvSpPr>
        <p:spPr>
          <a:xfrm>
            <a:off x="5166432" y="2443299"/>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Use Cases Exercises (Reminder)</a:t>
            </a:r>
          </a:p>
        </p:txBody>
      </p:sp>
      <p:sp>
        <p:nvSpPr>
          <p:cNvPr id="2" name="Title 1"/>
          <p:cNvSpPr>
            <a:spLocks noGrp="1"/>
          </p:cNvSpPr>
          <p:nvPr>
            <p:ph type="title"/>
            <p:custDataLst>
              <p:tags r:id="rId11"/>
            </p:custDataLst>
          </p:nvPr>
        </p:nvSpPr>
        <p:spPr/>
        <p:txBody>
          <a:bodyPr/>
          <a:lstStyle/>
          <a:p>
            <a:r>
              <a:rPr lang="en-US"/>
              <a:t>Agenda</a:t>
            </a:r>
          </a:p>
        </p:txBody>
      </p:sp>
    </p:spTree>
    <p:custDataLst>
      <p:tags r:id="rId1"/>
    </p:custDataLst>
    <p:extLst>
      <p:ext uri="{BB962C8B-B14F-4D97-AF65-F5344CB8AC3E}">
        <p14:creationId xmlns:p14="http://schemas.microsoft.com/office/powerpoint/2010/main" val="992606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hlinkClick r:id="rId13" action="ppaction://hlinksldjump"/>
          </p:cNvPr>
          <p:cNvSpPr/>
          <p:nvPr>
            <p:custDataLst>
              <p:tags r:id="rId3"/>
            </p:custDataLst>
          </p:nvPr>
        </p:nvSpPr>
        <p:spPr>
          <a:xfrm>
            <a:off x="5166432" y="4164441"/>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100000"/>
                  </a:schemeClr>
                </a:solidFill>
                <a:latin typeface="Trebuchet MS" panose="020B0603020202020204" pitchFamily="34" charset="0"/>
              </a:rPr>
              <a:t>Tests</a:t>
            </a:r>
          </a:p>
        </p:txBody>
      </p:sp>
      <p:sp>
        <p:nvSpPr>
          <p:cNvPr id="8" name="Rectangle 7">
            <a:hlinkClick r:id="rId14" action="ppaction://hlinksldjump"/>
          </p:cNvPr>
          <p:cNvSpPr/>
          <p:nvPr>
            <p:custDataLst>
              <p:tags r:id="rId4"/>
            </p:custDataLst>
          </p:nvPr>
        </p:nvSpPr>
        <p:spPr>
          <a:xfrm>
            <a:off x="5166432" y="384341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100000"/>
                  </a:schemeClr>
                </a:solidFill>
                <a:latin typeface="Trebuchet MS" panose="020B0603020202020204" pitchFamily="34" charset="0"/>
              </a:rPr>
              <a:t>Built-in functions</a:t>
            </a:r>
          </a:p>
        </p:txBody>
      </p:sp>
      <p:sp>
        <p:nvSpPr>
          <p:cNvPr id="7" name="Rectangle 6">
            <a:hlinkClick r:id="rId15" action="ppaction://hlinksldjump"/>
          </p:cNvPr>
          <p:cNvSpPr/>
          <p:nvPr>
            <p:custDataLst>
              <p:tags r:id="rId5"/>
            </p:custDataLst>
          </p:nvPr>
        </p:nvSpPr>
        <p:spPr>
          <a:xfrm>
            <a:off x="5166432" y="360493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100000"/>
                  </a:schemeClr>
                </a:solidFill>
                <a:latin typeface="Trebuchet MS" panose="020B0603020202020204" pitchFamily="34" charset="0"/>
              </a:rPr>
              <a:t>Data Encapsulation, Inheritance &amp; Polymorphism</a:t>
            </a:r>
          </a:p>
        </p:txBody>
      </p:sp>
      <p:sp>
        <p:nvSpPr>
          <p:cNvPr id="6" name="Rectangle 5">
            <a:hlinkClick r:id="rId16" action="ppaction://hlinksldjump"/>
          </p:cNvPr>
          <p:cNvSpPr/>
          <p:nvPr>
            <p:custDataLst>
              <p:tags r:id="rId6"/>
            </p:custDataLst>
          </p:nvPr>
        </p:nvSpPr>
        <p:spPr>
          <a:xfrm>
            <a:off x="5166432" y="336645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100000"/>
                  </a:schemeClr>
                </a:solidFill>
                <a:latin typeface="Trebuchet MS" panose="020B0603020202020204" pitchFamily="34" charset="0"/>
              </a:rPr>
              <a:t>Property</a:t>
            </a:r>
          </a:p>
        </p:txBody>
      </p:sp>
      <p:sp>
        <p:nvSpPr>
          <p:cNvPr id="5" name="Rectangle 4">
            <a:hlinkClick r:id="rId17" action="ppaction://hlinksldjump"/>
          </p:cNvPr>
          <p:cNvSpPr/>
          <p:nvPr>
            <p:custDataLst>
              <p:tags r:id="rId7"/>
            </p:custDataLst>
          </p:nvPr>
        </p:nvSpPr>
        <p:spPr>
          <a:xfrm>
            <a:off x="5166432" y="312797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100000"/>
                  </a:schemeClr>
                </a:solidFill>
                <a:latin typeface="Trebuchet MS" panose="020B0603020202020204" pitchFamily="34" charset="0"/>
              </a:rPr>
              <a:t>Class, Objects and Methods</a:t>
            </a:r>
          </a:p>
        </p:txBody>
      </p:sp>
      <p:sp>
        <p:nvSpPr>
          <p:cNvPr id="4" name="Rectangle 3">
            <a:hlinkClick r:id="rId18" action="ppaction://hlinksldjump"/>
          </p:cNvPr>
          <p:cNvSpPr/>
          <p:nvPr>
            <p:custDataLst>
              <p:tags r:id="rId8"/>
            </p:custDataLst>
          </p:nvPr>
        </p:nvSpPr>
        <p:spPr>
          <a:xfrm>
            <a:off x="5166432" y="2826910"/>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100000"/>
                  </a:schemeClr>
                </a:solidFill>
                <a:latin typeface="Trebuchet MS" panose="020B0603020202020204" pitchFamily="34" charset="0"/>
              </a:rPr>
              <a:t>OOP Fundamentals</a:t>
            </a:r>
          </a:p>
        </p:txBody>
      </p:sp>
      <p:sp>
        <p:nvSpPr>
          <p:cNvPr id="3" name="Rectangle 2">
            <a:hlinkClick r:id="rId19" action="ppaction://hlinksldjump"/>
          </p:cNvPr>
          <p:cNvSpPr/>
          <p:nvPr>
            <p:custDataLst>
              <p:tags r:id="rId9"/>
            </p:custDataLst>
          </p:nvPr>
        </p:nvSpPr>
        <p:spPr>
          <a:xfrm>
            <a:off x="5166432" y="2443299"/>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100000"/>
                  </a:schemeClr>
                </a:solidFill>
                <a:latin typeface="Trebuchet MS" panose="020B0603020202020204" pitchFamily="34" charset="0"/>
              </a:rPr>
              <a:t>Use Cases Exercises (Reminder)</a:t>
            </a:r>
          </a:p>
        </p:txBody>
      </p:sp>
      <p:sp>
        <p:nvSpPr>
          <p:cNvPr id="2" name="Title 1"/>
          <p:cNvSpPr>
            <a:spLocks noGrp="1"/>
          </p:cNvSpPr>
          <p:nvPr>
            <p:ph type="title"/>
            <p:custDataLst>
              <p:tags r:id="rId10"/>
            </p:custDataLst>
          </p:nvPr>
        </p:nvSpPr>
        <p:spPr/>
        <p:txBody>
          <a:bodyPr/>
          <a:lstStyle/>
          <a:p>
            <a:r>
              <a:rPr lang="en-US"/>
              <a:t>Agenda</a:t>
            </a:r>
          </a:p>
        </p:txBody>
      </p:sp>
      <p:graphicFrame>
        <p:nvGraphicFramePr>
          <p:cNvPr id="12" name="Object 11" hidden="1"/>
          <p:cNvGraphicFramePr>
            <a:graphicFrameLocks noChangeAspect="1"/>
          </p:cNvGraphicFramePr>
          <p:nvPr>
            <p:custDataLst>
              <p:tags r:id="rId11"/>
            </p:custDataLst>
            <p:extLst>
              <p:ext uri="{D42A27DB-BD31-4B8C-83A1-F6EECF244321}">
                <p14:modId xmlns:p14="http://schemas.microsoft.com/office/powerpoint/2010/main" val="794941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75" name="think-cell Slide" r:id="rId20" imgW="473" imgH="473" progId="TCLayout.ActiveDocument.1">
                  <p:embed/>
                </p:oleObj>
              </mc:Choice>
              <mc:Fallback>
                <p:oleObj name="think-cell Slide" r:id="rId20" imgW="473" imgH="473"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07399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52"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76726" y="967135"/>
            <a:ext cx="3127881" cy="1495794"/>
          </a:xfrm>
        </p:spPr>
        <p:txBody>
          <a:bodyPr/>
          <a:lstStyle/>
          <a:p>
            <a:r>
              <a:rPr lang="en-US" dirty="0"/>
              <a:t>Python property decorator</a:t>
            </a:r>
          </a:p>
        </p:txBody>
      </p:sp>
      <p:sp>
        <p:nvSpPr>
          <p:cNvPr id="5" name="TextBox 4"/>
          <p:cNvSpPr txBox="1"/>
          <p:nvPr/>
        </p:nvSpPr>
        <p:spPr>
          <a:xfrm>
            <a:off x="549940" y="1855498"/>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bg1"/>
                </a:solidFill>
              </a:rPr>
              <a:t>@property decorator allows us to define properties easily without calling the property() function manually</a:t>
            </a:r>
          </a:p>
        </p:txBody>
      </p:sp>
      <p:sp>
        <p:nvSpPr>
          <p:cNvPr id="11" name="TextBox 10"/>
          <p:cNvSpPr txBox="1"/>
          <p:nvPr/>
        </p:nvSpPr>
        <p:spPr>
          <a:xfrm>
            <a:off x="9366283" y="365870"/>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 :</a:t>
            </a:r>
          </a:p>
        </p:txBody>
      </p:sp>
      <p:sp>
        <p:nvSpPr>
          <p:cNvPr id="13" name="TextBox 12"/>
          <p:cNvSpPr txBox="1"/>
          <p:nvPr/>
        </p:nvSpPr>
        <p:spPr>
          <a:xfrm>
            <a:off x="4523326" y="3029907"/>
            <a:ext cx="7203986" cy="6306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Here we would like "sentence" to remain an attribute of the Students objects</a:t>
            </a:r>
          </a:p>
          <a:p>
            <a:endParaRPr lang="en-US" sz="1600" dirty="0">
              <a:solidFill>
                <a:srgbClr val="575757"/>
              </a:solidFill>
            </a:endParaRPr>
          </a:p>
          <a:p>
            <a:r>
              <a:rPr lang="en-US" sz="1600" dirty="0">
                <a:solidFill>
                  <a:srgbClr val="575757"/>
                </a:solidFill>
              </a:rPr>
              <a:t>We also want this attribute to be updated automatically if we change the "name" attribute</a:t>
            </a:r>
          </a:p>
        </p:txBody>
      </p:sp>
      <p:sp>
        <p:nvSpPr>
          <p:cNvPr id="17" name="TextBox 16"/>
          <p:cNvSpPr txBox="1"/>
          <p:nvPr/>
        </p:nvSpPr>
        <p:spPr>
          <a:xfrm>
            <a:off x="9366284" y="4172084"/>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 :</a:t>
            </a:r>
          </a:p>
        </p:txBody>
      </p:sp>
      <p:sp>
        <p:nvSpPr>
          <p:cNvPr id="6" name="Rectangle 5"/>
          <p:cNvSpPr/>
          <p:nvPr/>
        </p:nvSpPr>
        <p:spPr>
          <a:xfrm>
            <a:off x="4476030" y="365870"/>
            <a:ext cx="4246158" cy="2123658"/>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tuden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name = 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lf.sentence</a:t>
            </a:r>
            <a:r>
              <a:rPr lang="fr-FR" sz="1100" dirty="0">
                <a:solidFill>
                  <a:srgbClr val="000000"/>
                </a:solidFill>
                <a:latin typeface="Consolas" panose="020B0609020204030204" pitchFamily="49" charset="0"/>
              </a:rPr>
              <a:t> = </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My</a:t>
            </a:r>
            <a:r>
              <a:rPr lang="fr-FR" sz="1100" dirty="0">
                <a:solidFill>
                  <a:srgbClr val="0000FF"/>
                </a:solidFill>
                <a:latin typeface="Consolas" panose="020B0609020204030204" pitchFamily="49" charset="0"/>
              </a:rPr>
              <a:t> name is: '</a:t>
            </a:r>
            <a:r>
              <a:rPr lang="fr-FR" sz="1100" dirty="0">
                <a:solidFill>
                  <a:srgbClr val="000000"/>
                </a:solidFill>
                <a:latin typeface="Consolas" panose="020B0609020204030204" pitchFamily="49" charset="0"/>
              </a:rPr>
              <a:t>+ self.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st = </a:t>
            </a:r>
            <a:r>
              <a:rPr lang="fr-FR" sz="1100" dirty="0" err="1">
                <a:solidFill>
                  <a:srgbClr val="000000"/>
                </a:solidFill>
                <a:latin typeface="Consolas" panose="020B0609020204030204" pitchFamily="49" charset="0"/>
              </a:rPr>
              <a:t>Stude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Jaki"</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st.name)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t.sentenc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st.name = </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Anusha</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st.name)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t.sentence</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sp>
        <p:nvSpPr>
          <p:cNvPr id="7" name="Rectangle 6"/>
          <p:cNvSpPr/>
          <p:nvPr/>
        </p:nvSpPr>
        <p:spPr>
          <a:xfrm>
            <a:off x="4523326" y="4172084"/>
            <a:ext cx="4246159" cy="2462213"/>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tuden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name = 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property</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sentence(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My</a:t>
            </a:r>
            <a:r>
              <a:rPr lang="fr-FR" sz="1100" dirty="0">
                <a:solidFill>
                  <a:srgbClr val="0000FF"/>
                </a:solidFill>
                <a:latin typeface="Consolas" panose="020B0609020204030204" pitchFamily="49" charset="0"/>
              </a:rPr>
              <a:t> name is: '</a:t>
            </a:r>
            <a:r>
              <a:rPr lang="fr-FR" sz="1100" dirty="0">
                <a:solidFill>
                  <a:srgbClr val="000000"/>
                </a:solidFill>
                <a:latin typeface="Consolas" panose="020B0609020204030204" pitchFamily="49" charset="0"/>
              </a:rPr>
              <a:t> + self.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st = </a:t>
            </a:r>
            <a:r>
              <a:rPr lang="fr-FR" sz="1100" dirty="0" err="1">
                <a:solidFill>
                  <a:srgbClr val="000000"/>
                </a:solidFill>
                <a:latin typeface="Consolas" panose="020B0609020204030204" pitchFamily="49" charset="0"/>
              </a:rPr>
              <a:t>Stude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Jaki"</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st.name)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t.sentenc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st.name = </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Anusha</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st.name)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t.sentence</a:t>
            </a:r>
            <a:r>
              <a:rPr lang="fr-FR" sz="1100" dirty="0">
                <a:solidFill>
                  <a:srgbClr val="000000"/>
                </a:solidFill>
                <a:latin typeface="Consolas" panose="020B0609020204030204" pitchFamily="49" charset="0"/>
              </a:rPr>
              <a:t>)  </a:t>
            </a:r>
            <a:endParaRPr lang="fr-FR" b="0" i="0" dirty="0">
              <a:solidFill>
                <a:srgbClr val="5C5C5C"/>
              </a:solidFill>
              <a:effectLst/>
              <a:latin typeface="Consolas" panose="020B0609020204030204" pitchFamily="49" charset="0"/>
            </a:endParaRPr>
          </a:p>
        </p:txBody>
      </p:sp>
      <p:sp>
        <p:nvSpPr>
          <p:cNvPr id="16" name="TextBox 15"/>
          <p:cNvSpPr txBox="1"/>
          <p:nvPr/>
        </p:nvSpPr>
        <p:spPr>
          <a:xfrm>
            <a:off x="9366283" y="741784"/>
            <a:ext cx="1752106" cy="807348"/>
          </a:xfrm>
          <a:prstGeom prst="rect">
            <a:avLst/>
          </a:prstGeom>
          <a:solidFill>
            <a:schemeClr val="bg1"/>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37373A"/>
                </a:solidFill>
                <a:latin typeface="Consolas" panose="020B0609020204030204" pitchFamily="49" charset="0"/>
              </a:rPr>
              <a:t>Jaki</a:t>
            </a:r>
          </a:p>
          <a:p>
            <a:r>
              <a:rPr lang="en-US" sz="1200" dirty="0">
                <a:solidFill>
                  <a:srgbClr val="37373A"/>
                </a:solidFill>
                <a:latin typeface="Consolas" panose="020B0609020204030204" pitchFamily="49" charset="0"/>
              </a:rPr>
              <a:t>My name is: Jaki</a:t>
            </a:r>
          </a:p>
          <a:p>
            <a:r>
              <a:rPr lang="en-US" sz="1200" dirty="0" err="1">
                <a:solidFill>
                  <a:srgbClr val="37373A"/>
                </a:solidFill>
                <a:latin typeface="Consolas" panose="020B0609020204030204" pitchFamily="49" charset="0"/>
              </a:rPr>
              <a:t>Anusha</a:t>
            </a:r>
            <a:endParaRPr lang="en-US" sz="1200" dirty="0">
              <a:solidFill>
                <a:srgbClr val="37373A"/>
              </a:solidFill>
              <a:latin typeface="Consolas" panose="020B0609020204030204" pitchFamily="49" charset="0"/>
            </a:endParaRPr>
          </a:p>
          <a:p>
            <a:r>
              <a:rPr lang="en-US" sz="1200" dirty="0">
                <a:solidFill>
                  <a:srgbClr val="37373A"/>
                </a:solidFill>
                <a:latin typeface="Consolas" panose="020B0609020204030204" pitchFamily="49" charset="0"/>
              </a:rPr>
              <a:t>My name is: Jaki</a:t>
            </a:r>
          </a:p>
        </p:txBody>
      </p:sp>
      <p:sp>
        <p:nvSpPr>
          <p:cNvPr id="20" name="TextBox 19"/>
          <p:cNvSpPr txBox="1"/>
          <p:nvPr/>
        </p:nvSpPr>
        <p:spPr>
          <a:xfrm>
            <a:off x="9393611" y="4595277"/>
            <a:ext cx="1752106" cy="807348"/>
          </a:xfrm>
          <a:prstGeom prst="rect">
            <a:avLst/>
          </a:prstGeom>
          <a:solidFill>
            <a:schemeClr val="bg1"/>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37373A"/>
                </a:solidFill>
                <a:latin typeface="Consolas" panose="020B0609020204030204" pitchFamily="49" charset="0"/>
              </a:rPr>
              <a:t>Jaki</a:t>
            </a:r>
          </a:p>
          <a:p>
            <a:r>
              <a:rPr lang="en-US" sz="1200" dirty="0">
                <a:solidFill>
                  <a:srgbClr val="37373A"/>
                </a:solidFill>
                <a:latin typeface="Consolas" panose="020B0609020204030204" pitchFamily="49" charset="0"/>
              </a:rPr>
              <a:t>My name is: Jaki</a:t>
            </a:r>
          </a:p>
          <a:p>
            <a:r>
              <a:rPr lang="en-US" sz="1200" dirty="0" err="1">
                <a:solidFill>
                  <a:srgbClr val="37373A"/>
                </a:solidFill>
                <a:latin typeface="Consolas" panose="020B0609020204030204" pitchFamily="49" charset="0"/>
              </a:rPr>
              <a:t>Anusha</a:t>
            </a:r>
            <a:endParaRPr lang="en-US" sz="1200" dirty="0">
              <a:solidFill>
                <a:srgbClr val="37373A"/>
              </a:solidFill>
              <a:latin typeface="Consolas" panose="020B0609020204030204" pitchFamily="49" charset="0"/>
            </a:endParaRPr>
          </a:p>
          <a:p>
            <a:r>
              <a:rPr lang="en-US" sz="1200" dirty="0">
                <a:solidFill>
                  <a:srgbClr val="37373A"/>
                </a:solidFill>
                <a:latin typeface="Consolas" panose="020B0609020204030204" pitchFamily="49" charset="0"/>
              </a:rPr>
              <a:t>My name is: </a:t>
            </a:r>
            <a:r>
              <a:rPr lang="en-US" sz="1200" dirty="0" err="1">
                <a:solidFill>
                  <a:srgbClr val="37373A"/>
                </a:solidFill>
                <a:latin typeface="Consolas" panose="020B0609020204030204" pitchFamily="49" charset="0"/>
              </a:rPr>
              <a:t>Anusha</a:t>
            </a:r>
            <a:endParaRPr lang="en-US" sz="1200" dirty="0">
              <a:solidFill>
                <a:srgbClr val="37373A"/>
              </a:solidFill>
              <a:latin typeface="Consolas" panose="020B0609020204030204" pitchFamily="49" charset="0"/>
            </a:endParaRPr>
          </a:p>
        </p:txBody>
      </p:sp>
      <p:grpSp>
        <p:nvGrpSpPr>
          <p:cNvPr id="14" name="Group 13"/>
          <p:cNvGrpSpPr>
            <a:grpSpLocks noChangeAspect="1"/>
          </p:cNvGrpSpPr>
          <p:nvPr/>
        </p:nvGrpSpPr>
        <p:grpSpPr>
          <a:xfrm>
            <a:off x="4348535" y="2790551"/>
            <a:ext cx="174791" cy="174791"/>
            <a:chOff x="982662" y="1847850"/>
            <a:chExt cx="269875" cy="269875"/>
          </a:xfrm>
        </p:grpSpPr>
        <p:sp>
          <p:nvSpPr>
            <p:cNvPr id="18"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1" name="Group 20"/>
          <p:cNvGrpSpPr>
            <a:grpSpLocks noChangeAspect="1"/>
          </p:cNvGrpSpPr>
          <p:nvPr/>
        </p:nvGrpSpPr>
        <p:grpSpPr>
          <a:xfrm>
            <a:off x="4348535" y="3513600"/>
            <a:ext cx="174791" cy="174791"/>
            <a:chOff x="982662" y="1847850"/>
            <a:chExt cx="269875" cy="269875"/>
          </a:xfrm>
        </p:grpSpPr>
        <p:sp>
          <p:nvSpPr>
            <p:cNvPr id="2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238454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6"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596547" y="1015805"/>
            <a:ext cx="3127881" cy="1495794"/>
          </a:xfrm>
        </p:spPr>
        <p:txBody>
          <a:bodyPr/>
          <a:lstStyle/>
          <a:p>
            <a:r>
              <a:rPr lang="en-US" dirty="0"/>
              <a:t>Python property setter</a:t>
            </a:r>
          </a:p>
        </p:txBody>
      </p:sp>
      <p:sp>
        <p:nvSpPr>
          <p:cNvPr id="5" name="TextBox 4"/>
          <p:cNvSpPr txBox="1"/>
          <p:nvPr/>
        </p:nvSpPr>
        <p:spPr>
          <a:xfrm>
            <a:off x="539443" y="1759520"/>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Here again the goal is to change the class attributes without too much effort</a:t>
            </a:r>
          </a:p>
          <a:p>
            <a:endParaRPr lang="en-US" dirty="0">
              <a:solidFill>
                <a:schemeClr val="bg1"/>
              </a:solidFill>
            </a:endParaRPr>
          </a:p>
          <a:p>
            <a:r>
              <a:rPr lang="en-US" dirty="0">
                <a:solidFill>
                  <a:schemeClr val="bg1"/>
                </a:solidFill>
              </a:rPr>
              <a:t>If we want a function to be able to modify the attributes of an object, we have to add the </a:t>
            </a:r>
            <a:r>
              <a:rPr lang="en-US" dirty="0">
                <a:solidFill>
                  <a:srgbClr val="D4DF33"/>
                </a:solidFill>
              </a:rPr>
              <a:t>@f.setter </a:t>
            </a:r>
            <a:r>
              <a:rPr lang="en-US" dirty="0">
                <a:solidFill>
                  <a:schemeClr val="bg1"/>
                </a:solidFill>
              </a:rPr>
              <a:t>decorator, where f denotes the function used</a:t>
            </a:r>
          </a:p>
        </p:txBody>
      </p:sp>
      <p:sp>
        <p:nvSpPr>
          <p:cNvPr id="13" name="TextBox 12"/>
          <p:cNvSpPr txBox="1"/>
          <p:nvPr/>
        </p:nvSpPr>
        <p:spPr>
          <a:xfrm>
            <a:off x="4626410" y="1372504"/>
            <a:ext cx="7066969" cy="6306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Considering the same example as before, we would like to be able to modify the Student object from the "bottom", i.e we would like the object to be updated when changing the sentence attribute</a:t>
            </a:r>
          </a:p>
        </p:txBody>
      </p:sp>
      <p:sp>
        <p:nvSpPr>
          <p:cNvPr id="17" name="TextBox 16"/>
          <p:cNvSpPr txBox="1"/>
          <p:nvPr/>
        </p:nvSpPr>
        <p:spPr>
          <a:xfrm>
            <a:off x="9117664" y="2511473"/>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 :</a:t>
            </a:r>
          </a:p>
        </p:txBody>
      </p:sp>
      <p:sp>
        <p:nvSpPr>
          <p:cNvPr id="8" name="Rectangle 7"/>
          <p:cNvSpPr/>
          <p:nvPr/>
        </p:nvSpPr>
        <p:spPr>
          <a:xfrm>
            <a:off x="4626410" y="2442893"/>
            <a:ext cx="4213698" cy="3985706"/>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tuden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name = name  </a:t>
            </a:r>
          </a:p>
          <a:p>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property</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sentence(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My</a:t>
            </a:r>
            <a:r>
              <a:rPr lang="fr-FR" sz="1100" dirty="0">
                <a:solidFill>
                  <a:srgbClr val="0000FF"/>
                </a:solidFill>
                <a:latin typeface="Consolas" panose="020B0609020204030204" pitchFamily="49" charset="0"/>
              </a:rPr>
              <a:t> name is: '</a:t>
            </a:r>
            <a:r>
              <a:rPr lang="fr-FR" sz="1100" dirty="0">
                <a:solidFill>
                  <a:srgbClr val="000000"/>
                </a:solidFill>
                <a:latin typeface="Consolas" panose="020B0609020204030204" pitchFamily="49" charset="0"/>
              </a:rPr>
              <a:t> + self.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sentence.sette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sentence(self, s):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jbl</a:t>
            </a:r>
            <a:r>
              <a:rPr lang="fr-FR" sz="1100" dirty="0">
                <a:solidFill>
                  <a:srgbClr val="000000"/>
                </a:solidFill>
                <a:latin typeface="Consolas" panose="020B0609020204030204" pitchFamily="49" charset="0"/>
              </a:rPr>
              <a:t>, name = </a:t>
            </a:r>
            <a:r>
              <a:rPr lang="fr-FR" sz="1100" dirty="0" err="1">
                <a:solidFill>
                  <a:srgbClr val="000000"/>
                </a:solidFill>
                <a:latin typeface="Consolas" panose="020B0609020204030204" pitchFamily="49" charset="0"/>
              </a:rPr>
              <a:t>s.spli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 '</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name = name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st = </a:t>
            </a:r>
            <a:r>
              <a:rPr lang="fr-FR" sz="1100" dirty="0" err="1">
                <a:solidFill>
                  <a:srgbClr val="000000"/>
                </a:solidFill>
                <a:latin typeface="Consolas" panose="020B0609020204030204" pitchFamily="49" charset="0"/>
              </a:rPr>
              <a:t>Stude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Jaki"</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st.name)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t.sentenc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st.name = </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Anusha</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st.name)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st.sentenc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endParaRPr lang="fr-FR" sz="1100" dirty="0">
              <a:solidFill>
                <a:srgbClr val="000000"/>
              </a:solidFill>
              <a:latin typeface="Consolas" panose="020B0609020204030204" pitchFamily="49" charset="0"/>
            </a:endParaRPr>
          </a:p>
          <a:p>
            <a:r>
              <a:rPr lang="fr-FR" sz="1100" dirty="0" err="1">
                <a:solidFill>
                  <a:srgbClr val="000000"/>
                </a:solidFill>
                <a:latin typeface="Consolas" panose="020B0609020204030204" pitchFamily="49" charset="0"/>
              </a:rPr>
              <a:t>st.sentence</a:t>
            </a:r>
            <a:r>
              <a:rPr lang="fr-FR" sz="1100" dirty="0">
                <a:solidFill>
                  <a:srgbClr val="000000"/>
                </a:solidFill>
                <a:latin typeface="Consolas" panose="020B0609020204030204" pitchFamily="49" charset="0"/>
              </a:rPr>
              <a:t> = </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My</a:t>
            </a:r>
            <a:r>
              <a:rPr lang="fr-FR" sz="1100" dirty="0">
                <a:solidFill>
                  <a:srgbClr val="0000FF"/>
                </a:solidFill>
                <a:latin typeface="Consolas" panose="020B0609020204030204" pitchFamily="49" charset="0"/>
              </a:rPr>
              <a:t> name is: Chan'</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st.name)  </a:t>
            </a:r>
            <a:endParaRPr lang="fr-FR" sz="1100" b="0" i="0" dirty="0">
              <a:solidFill>
                <a:srgbClr val="5C5C5C"/>
              </a:solidFill>
              <a:effectLst/>
              <a:latin typeface="Consolas" panose="020B0609020204030204" pitchFamily="49" charset="0"/>
            </a:endParaRPr>
          </a:p>
        </p:txBody>
      </p:sp>
      <p:sp>
        <p:nvSpPr>
          <p:cNvPr id="12" name="TextBox 11"/>
          <p:cNvSpPr txBox="1"/>
          <p:nvPr/>
        </p:nvSpPr>
        <p:spPr>
          <a:xfrm>
            <a:off x="9200870" y="2979543"/>
            <a:ext cx="1752106" cy="981529"/>
          </a:xfrm>
          <a:prstGeom prst="rect">
            <a:avLst/>
          </a:prstGeom>
          <a:solidFill>
            <a:schemeClr val="bg1"/>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37373A"/>
                </a:solidFill>
                <a:latin typeface="Consolas" panose="020B0609020204030204" pitchFamily="49" charset="0"/>
              </a:rPr>
              <a:t>Jaki</a:t>
            </a:r>
          </a:p>
          <a:p>
            <a:r>
              <a:rPr lang="en-US" sz="1200" dirty="0">
                <a:solidFill>
                  <a:srgbClr val="37373A"/>
                </a:solidFill>
                <a:latin typeface="Consolas" panose="020B0609020204030204" pitchFamily="49" charset="0"/>
              </a:rPr>
              <a:t>My name is: Jaki</a:t>
            </a:r>
          </a:p>
          <a:p>
            <a:r>
              <a:rPr lang="en-US" sz="1200" dirty="0" err="1">
                <a:solidFill>
                  <a:srgbClr val="37373A"/>
                </a:solidFill>
                <a:latin typeface="Consolas" panose="020B0609020204030204" pitchFamily="49" charset="0"/>
              </a:rPr>
              <a:t>Anusha</a:t>
            </a:r>
            <a:endParaRPr lang="en-US" sz="1200" dirty="0">
              <a:solidFill>
                <a:srgbClr val="37373A"/>
              </a:solidFill>
              <a:latin typeface="Consolas" panose="020B0609020204030204" pitchFamily="49" charset="0"/>
            </a:endParaRPr>
          </a:p>
          <a:p>
            <a:r>
              <a:rPr lang="en-US" sz="1200" dirty="0">
                <a:solidFill>
                  <a:srgbClr val="37373A"/>
                </a:solidFill>
                <a:latin typeface="Consolas" panose="020B0609020204030204" pitchFamily="49" charset="0"/>
              </a:rPr>
              <a:t>My name is: </a:t>
            </a:r>
            <a:r>
              <a:rPr lang="en-US" sz="1200" dirty="0" err="1">
                <a:solidFill>
                  <a:srgbClr val="37373A"/>
                </a:solidFill>
                <a:latin typeface="Consolas" panose="020B0609020204030204" pitchFamily="49" charset="0"/>
              </a:rPr>
              <a:t>Anusha</a:t>
            </a:r>
            <a:endParaRPr lang="en-US" sz="1200" dirty="0">
              <a:solidFill>
                <a:srgbClr val="37373A"/>
              </a:solidFill>
              <a:latin typeface="Consolas" panose="020B0609020204030204" pitchFamily="49" charset="0"/>
            </a:endParaRPr>
          </a:p>
          <a:p>
            <a:r>
              <a:rPr lang="en-US" sz="1200" dirty="0">
                <a:solidFill>
                  <a:srgbClr val="37373A"/>
                </a:solidFill>
                <a:latin typeface="Consolas" panose="020B0609020204030204" pitchFamily="49" charset="0"/>
              </a:rPr>
              <a:t>Chan</a:t>
            </a:r>
          </a:p>
        </p:txBody>
      </p:sp>
      <p:grpSp>
        <p:nvGrpSpPr>
          <p:cNvPr id="11" name="Group 10"/>
          <p:cNvGrpSpPr>
            <a:grpSpLocks noChangeAspect="1"/>
          </p:cNvGrpSpPr>
          <p:nvPr/>
        </p:nvGrpSpPr>
        <p:grpSpPr>
          <a:xfrm>
            <a:off x="4471979" y="1345072"/>
            <a:ext cx="174791" cy="174791"/>
            <a:chOff x="982662" y="1847850"/>
            <a:chExt cx="269875" cy="269875"/>
          </a:xfrm>
        </p:grpSpPr>
        <p:sp>
          <p:nvSpPr>
            <p:cNvPr id="1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custDataLst>
      <p:tags r:id="rId2"/>
    </p:custDataLst>
    <p:extLst>
      <p:ext uri="{BB962C8B-B14F-4D97-AF65-F5344CB8AC3E}">
        <p14:creationId xmlns:p14="http://schemas.microsoft.com/office/powerpoint/2010/main" val="2958169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hlinkClick r:id="rId13" action="ppaction://hlinksldjump"/>
          </p:cNvPr>
          <p:cNvSpPr/>
          <p:nvPr>
            <p:custDataLst>
              <p:tags r:id="rId2"/>
            </p:custDataLst>
          </p:nvPr>
        </p:nvSpPr>
        <p:spPr>
          <a:xfrm>
            <a:off x="5166432" y="4164441"/>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Tests</a:t>
            </a:r>
          </a:p>
        </p:txBody>
      </p:sp>
      <p:sp>
        <p:nvSpPr>
          <p:cNvPr id="10" name="Rectangle 9">
            <a:hlinkClick r:id="rId14" action="ppaction://hlinksldjump"/>
          </p:cNvPr>
          <p:cNvSpPr/>
          <p:nvPr>
            <p:custDataLst>
              <p:tags r:id="rId3"/>
            </p:custDataLst>
          </p:nvPr>
        </p:nvSpPr>
        <p:spPr>
          <a:xfrm>
            <a:off x="5166432" y="384341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Built-in functions</a:t>
            </a:r>
          </a:p>
        </p:txBody>
      </p:sp>
      <p:sp>
        <p:nvSpPr>
          <p:cNvPr id="9" name="Oval 8"/>
          <p:cNvSpPr/>
          <p:nvPr>
            <p:custDataLst>
              <p:tags r:id="rId4"/>
            </p:custDataLst>
          </p:nvPr>
        </p:nvSpPr>
        <p:spPr>
          <a:xfrm>
            <a:off x="4714058" y="355246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Trebuchet MS" panose="020B0603020202020204" pitchFamily="34" charset="0"/>
            </a:endParaRPr>
          </a:p>
        </p:txBody>
      </p:sp>
      <p:pic>
        <p:nvPicPr>
          <p:cNvPr id="8" name="Picture 7"/>
          <p:cNvPicPr>
            <a:picLocks/>
          </p:cNvPicPr>
          <p:nvPr>
            <p:custDataLst>
              <p:tags r:id="rId5"/>
            </p:custDataLst>
          </p:nvPr>
        </p:nvPicPr>
        <p:blipFill>
          <a:blip r:embed="rId15">
            <a:extLst>
              <a:ext uri="{28A0092B-C50C-407E-A947-70E740481C1C}">
                <a14:useLocalDpi xmlns:a14="http://schemas.microsoft.com/office/drawing/2010/main" val="0"/>
              </a:ext>
            </a:extLst>
          </a:blip>
          <a:stretch>
            <a:fillRect/>
          </a:stretch>
        </p:blipFill>
        <p:spPr>
          <a:xfrm>
            <a:off x="4714058" y="3552467"/>
            <a:ext cx="293147" cy="292608"/>
          </a:xfrm>
          <a:prstGeom prst="rect">
            <a:avLst/>
          </a:prstGeom>
        </p:spPr>
      </p:pic>
      <p:sp>
        <p:nvSpPr>
          <p:cNvPr id="7" name="Rectangle 6">
            <a:hlinkClick r:id="rId16" action="ppaction://hlinksldjump"/>
          </p:cNvPr>
          <p:cNvSpPr/>
          <p:nvPr>
            <p:custDataLst>
              <p:tags r:id="rId6"/>
            </p:custDataLst>
          </p:nvPr>
        </p:nvSpPr>
        <p:spPr>
          <a:xfrm>
            <a:off x="5166432" y="360493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100000"/>
                  </a:schemeClr>
                </a:solidFill>
                <a:latin typeface="Trebuchet MS" panose="020B0603020202020204" pitchFamily="34" charset="0"/>
              </a:rPr>
              <a:t>Data Encapsulation, Inheritance &amp; Polymorphism</a:t>
            </a:r>
          </a:p>
        </p:txBody>
      </p:sp>
      <p:sp>
        <p:nvSpPr>
          <p:cNvPr id="6" name="Rectangle 5">
            <a:hlinkClick r:id="rId17" action="ppaction://hlinksldjump"/>
          </p:cNvPr>
          <p:cNvSpPr/>
          <p:nvPr>
            <p:custDataLst>
              <p:tags r:id="rId7"/>
            </p:custDataLst>
          </p:nvPr>
        </p:nvSpPr>
        <p:spPr>
          <a:xfrm>
            <a:off x="5166432" y="336645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Property</a:t>
            </a:r>
          </a:p>
        </p:txBody>
      </p:sp>
      <p:sp>
        <p:nvSpPr>
          <p:cNvPr id="5" name="Rectangle 4">
            <a:hlinkClick r:id="rId18" action="ppaction://hlinksldjump"/>
          </p:cNvPr>
          <p:cNvSpPr/>
          <p:nvPr>
            <p:custDataLst>
              <p:tags r:id="rId8"/>
            </p:custDataLst>
          </p:nvPr>
        </p:nvSpPr>
        <p:spPr>
          <a:xfrm>
            <a:off x="5166432" y="312797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Class, Objects and Methods</a:t>
            </a:r>
          </a:p>
        </p:txBody>
      </p:sp>
      <p:sp>
        <p:nvSpPr>
          <p:cNvPr id="4" name="Rectangle 3">
            <a:hlinkClick r:id="rId19" action="ppaction://hlinksldjump"/>
          </p:cNvPr>
          <p:cNvSpPr/>
          <p:nvPr>
            <p:custDataLst>
              <p:tags r:id="rId9"/>
            </p:custDataLst>
          </p:nvPr>
        </p:nvSpPr>
        <p:spPr>
          <a:xfrm>
            <a:off x="5166432" y="2826910"/>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OOP Fundamentals</a:t>
            </a:r>
          </a:p>
        </p:txBody>
      </p:sp>
      <p:sp>
        <p:nvSpPr>
          <p:cNvPr id="3" name="Rectangle 2">
            <a:hlinkClick r:id="rId20" action="ppaction://hlinksldjump"/>
          </p:cNvPr>
          <p:cNvSpPr/>
          <p:nvPr>
            <p:custDataLst>
              <p:tags r:id="rId10"/>
            </p:custDataLst>
          </p:nvPr>
        </p:nvSpPr>
        <p:spPr>
          <a:xfrm>
            <a:off x="5166432" y="2443299"/>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Use Cases Exercises (Reminder)</a:t>
            </a:r>
          </a:p>
        </p:txBody>
      </p:sp>
      <p:sp>
        <p:nvSpPr>
          <p:cNvPr id="2" name="Title 1"/>
          <p:cNvSpPr>
            <a:spLocks noGrp="1"/>
          </p:cNvSpPr>
          <p:nvPr>
            <p:ph type="title"/>
            <p:custDataLst>
              <p:tags r:id="rId11"/>
            </p:custDataLst>
          </p:nvPr>
        </p:nvSpPr>
        <p:spPr/>
        <p:txBody>
          <a:bodyPr/>
          <a:lstStyle/>
          <a:p>
            <a:r>
              <a:rPr lang="en-US"/>
              <a:t>Agenda</a:t>
            </a:r>
          </a:p>
        </p:txBody>
      </p:sp>
    </p:spTree>
    <p:custDataLst>
      <p:tags r:id="rId1"/>
    </p:custDataLst>
    <p:extLst>
      <p:ext uri="{BB962C8B-B14F-4D97-AF65-F5344CB8AC3E}">
        <p14:creationId xmlns:p14="http://schemas.microsoft.com/office/powerpoint/2010/main" val="4214841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81"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Rectangle 6"/>
          <p:cNvSpPr/>
          <p:nvPr/>
        </p:nvSpPr>
        <p:spPr>
          <a:xfrm>
            <a:off x="4394484" y="1672180"/>
            <a:ext cx="7168865" cy="2800767"/>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fr-FR" sz="1100" b="1" dirty="0">
                <a:solidFill>
                  <a:srgbClr val="006699"/>
                </a:solidFill>
                <a:latin typeface="Consolas" panose="020B0609020204030204" pitchFamily="49" charset="0"/>
              </a:rPr>
              <a:t>class</a:t>
            </a:r>
            <a:r>
              <a:rPr lang="fr-FR" sz="1100" dirty="0">
                <a:solidFill>
                  <a:srgbClr val="000000"/>
                </a:solidFill>
                <a:latin typeface="Consolas" panose="020B0609020204030204" pitchFamily="49" charset="0"/>
              </a:rPr>
              <a:t> User():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__init__(self, </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__</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property</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self):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entering</a:t>
            </a:r>
            <a:r>
              <a:rPr lang="fr-FR" sz="1100" dirty="0">
                <a:solidFill>
                  <a:srgbClr val="0000FF"/>
                </a:solidFill>
                <a:latin typeface="Consolas" panose="020B0609020204030204" pitchFamily="49" charset="0"/>
              </a:rPr>
              <a:t> the </a:t>
            </a:r>
            <a:r>
              <a:rPr lang="fr-FR" sz="1100" dirty="0" err="1">
                <a:solidFill>
                  <a:srgbClr val="0000FF"/>
                </a:solidFill>
                <a:latin typeface="Consolas" panose="020B0609020204030204" pitchFamily="49" charset="0"/>
              </a:rPr>
              <a:t>get</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return</a:t>
            </a:r>
            <a:r>
              <a:rPr lang="fr-FR" sz="1100" dirty="0">
                <a:solidFill>
                  <a:srgbClr val="000000"/>
                </a:solidFill>
                <a:latin typeface="Consolas" panose="020B0609020204030204" pitchFamily="49" charset="0"/>
              </a:rPr>
              <a:t> self.__</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amount.setter</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self, </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print</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entering</a:t>
            </a:r>
            <a:r>
              <a:rPr lang="fr-FR" sz="1100" dirty="0">
                <a:solidFill>
                  <a:srgbClr val="0000FF"/>
                </a:solidFill>
                <a:latin typeface="Consolas" panose="020B0609020204030204" pitchFamily="49" charset="0"/>
              </a:rPr>
              <a:t> the se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i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 &lt; 80: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err="1">
                <a:solidFill>
                  <a:srgbClr val="006699"/>
                </a:solidFill>
                <a:latin typeface="Consolas" panose="020B0609020204030204" pitchFamily="49" charset="0"/>
              </a:rPr>
              <a:t>raise</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ValueError</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We</a:t>
            </a:r>
            <a:r>
              <a:rPr lang="fr-FR" sz="1100" dirty="0">
                <a:solidFill>
                  <a:srgbClr val="0000FF"/>
                </a:solidFill>
                <a:latin typeface="Consolas" panose="020B0609020204030204" pitchFamily="49" charset="0"/>
              </a:rPr>
              <a:t> </a:t>
            </a:r>
            <a:r>
              <a:rPr lang="fr-FR" sz="1100" dirty="0" err="1">
                <a:solidFill>
                  <a:srgbClr val="0000FF"/>
                </a:solidFill>
                <a:latin typeface="Consolas" panose="020B0609020204030204" pitchFamily="49" charset="0"/>
              </a:rPr>
              <a:t>can't</a:t>
            </a:r>
            <a:r>
              <a:rPr lang="fr-FR" sz="1100" dirty="0">
                <a:solidFill>
                  <a:srgbClr val="0000FF"/>
                </a:solidFill>
                <a:latin typeface="Consolas" panose="020B0609020204030204" pitchFamily="49" charset="0"/>
              </a:rPr>
              <a:t> </a:t>
            </a:r>
            <a:r>
              <a:rPr lang="fr-FR" sz="1100" dirty="0" err="1">
                <a:solidFill>
                  <a:srgbClr val="0000FF"/>
                </a:solidFill>
                <a:latin typeface="Consolas" panose="020B0609020204030204" pitchFamily="49" charset="0"/>
              </a:rPr>
              <a:t>give</a:t>
            </a:r>
            <a:r>
              <a:rPr lang="fr-FR" sz="1100" dirty="0">
                <a:solidFill>
                  <a:srgbClr val="0000FF"/>
                </a:solidFill>
                <a:latin typeface="Consolas" panose="020B0609020204030204" pitchFamily="49" charset="0"/>
              </a:rPr>
              <a:t> the user an </a:t>
            </a:r>
            <a:r>
              <a:rPr lang="fr-FR" sz="1100" dirty="0" err="1">
                <a:solidFill>
                  <a:srgbClr val="0000FF"/>
                </a:solidFill>
                <a:latin typeface="Consolas" panose="020B0609020204030204" pitchFamily="49" charset="0"/>
              </a:rPr>
              <a:t>amount</a:t>
            </a:r>
            <a:r>
              <a:rPr lang="fr-FR" sz="1100" dirty="0">
                <a:solidFill>
                  <a:srgbClr val="0000FF"/>
                </a:solidFill>
                <a:latin typeface="Consolas" panose="020B0609020204030204" pitchFamily="49" charset="0"/>
              </a:rPr>
              <a:t> </a:t>
            </a:r>
            <a:r>
              <a:rPr lang="fr-FR" sz="1100" dirty="0" err="1">
                <a:solidFill>
                  <a:srgbClr val="0000FF"/>
                </a:solidFill>
                <a:latin typeface="Consolas" panose="020B0609020204030204" pitchFamily="49" charset="0"/>
              </a:rPr>
              <a:t>lower</a:t>
            </a:r>
            <a:r>
              <a:rPr lang="fr-FR" sz="1100" dirty="0">
                <a:solidFill>
                  <a:srgbClr val="0000FF"/>
                </a:solidFill>
                <a:latin typeface="Consolas" panose="020B0609020204030204" pitchFamily="49" charset="0"/>
              </a:rPr>
              <a:t> </a:t>
            </a:r>
            <a:r>
              <a:rPr lang="fr-FR" sz="1100" dirty="0" err="1">
                <a:solidFill>
                  <a:srgbClr val="0000FF"/>
                </a:solidFill>
                <a:latin typeface="Consolas" panose="020B0609020204030204" pitchFamily="49" charset="0"/>
              </a:rPr>
              <a:t>than</a:t>
            </a:r>
            <a:r>
              <a:rPr lang="fr-FR" sz="1100" dirty="0">
                <a:solidFill>
                  <a:srgbClr val="0000FF"/>
                </a:solidFill>
                <a:latin typeface="Consolas" panose="020B0609020204030204" pitchFamily="49" charset="0"/>
              </a:rPr>
              <a:t> 80"</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else</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self.__</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 = </a:t>
            </a:r>
            <a:r>
              <a:rPr lang="fr-FR" sz="1100" dirty="0" err="1">
                <a:solidFill>
                  <a:srgbClr val="000000"/>
                </a:solidFill>
                <a:latin typeface="Consolas" panose="020B0609020204030204" pitchFamily="49" charset="0"/>
              </a:rPr>
              <a:t>amount</a:t>
            </a:r>
            <a:r>
              <a:rPr lang="fr-FR" sz="1100" dirty="0">
                <a:solidFill>
                  <a:srgbClr val="000000"/>
                </a:solidFill>
                <a:latin typeface="Consolas" panose="020B0609020204030204" pitchFamily="49" charset="0"/>
              </a:rPr>
              <a:t>  </a:t>
            </a:r>
            <a:endParaRPr lang="fr-FR" sz="1100" b="0" i="0" dirty="0">
              <a:solidFill>
                <a:srgbClr val="5C5C5C"/>
              </a:solidFill>
              <a:effectLst/>
              <a:latin typeface="Consolas" panose="020B0609020204030204" pitchFamily="49" charset="0"/>
            </a:endParaRPr>
          </a:p>
        </p:txBody>
      </p:sp>
      <p:sp>
        <p:nvSpPr>
          <p:cNvPr id="3" name="Title 2"/>
          <p:cNvSpPr>
            <a:spLocks noGrp="1"/>
          </p:cNvSpPr>
          <p:nvPr>
            <p:ph type="title"/>
          </p:nvPr>
        </p:nvSpPr>
        <p:spPr>
          <a:xfrm>
            <a:off x="326613" y="1506997"/>
            <a:ext cx="3127881" cy="733596"/>
          </a:xfrm>
        </p:spPr>
        <p:txBody>
          <a:bodyPr/>
          <a:lstStyle/>
          <a:p>
            <a:pPr algn="ctr"/>
            <a:r>
              <a:rPr lang="en-US" dirty="0"/>
              <a:t>Encapsulation</a:t>
            </a:r>
          </a:p>
        </p:txBody>
      </p:sp>
      <p:sp>
        <p:nvSpPr>
          <p:cNvPr id="5" name="TextBox 4"/>
          <p:cNvSpPr txBox="1"/>
          <p:nvPr/>
        </p:nvSpPr>
        <p:spPr>
          <a:xfrm>
            <a:off x="541814" y="2520804"/>
            <a:ext cx="3064413" cy="39480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600"/>
              </a:spcAft>
            </a:pPr>
            <a:r>
              <a:rPr lang="en-US" sz="1600" dirty="0">
                <a:solidFill>
                  <a:schemeClr val="bg1"/>
                </a:solidFill>
                <a:sym typeface="Trebuchet MS" panose="020B0603020202020204" pitchFamily="34" charset="0"/>
              </a:rPr>
              <a:t>Encapsulation refers to the </a:t>
            </a:r>
            <a:r>
              <a:rPr lang="en-US" sz="1600" dirty="0">
                <a:solidFill>
                  <a:srgbClr val="D4DF33"/>
                </a:solidFill>
                <a:sym typeface="Trebuchet MS" panose="020B0603020202020204" pitchFamily="34" charset="0"/>
              </a:rPr>
              <a:t>safe storage of data </a:t>
            </a:r>
            <a:r>
              <a:rPr lang="en-US" sz="1600" dirty="0">
                <a:solidFill>
                  <a:schemeClr val="bg1"/>
                </a:solidFill>
                <a:sym typeface="Trebuchet MS" panose="020B0603020202020204" pitchFamily="34" charset="0"/>
              </a:rPr>
              <a:t>(attributes) </a:t>
            </a:r>
            <a:r>
              <a:rPr lang="en-US" sz="1600" dirty="0">
                <a:solidFill>
                  <a:srgbClr val="D4DF33"/>
                </a:solidFill>
                <a:sym typeface="Trebuchet MS" panose="020B0603020202020204" pitchFamily="34" charset="0"/>
              </a:rPr>
              <a:t>in an instance</a:t>
            </a:r>
          </a:p>
          <a:p>
            <a:pPr>
              <a:lnSpc>
                <a:spcPct val="90000"/>
              </a:lnSpc>
              <a:spcAft>
                <a:spcPts val="600"/>
              </a:spcAft>
            </a:pPr>
            <a:endParaRPr lang="en-US" sz="900" dirty="0">
              <a:solidFill>
                <a:schemeClr val="bg1"/>
              </a:solidFill>
              <a:sym typeface="Trebuchet MS" panose="020B0603020202020204" pitchFamily="34" charset="0"/>
            </a:endParaRPr>
          </a:p>
          <a:p>
            <a:pPr>
              <a:lnSpc>
                <a:spcPct val="90000"/>
              </a:lnSpc>
              <a:spcAft>
                <a:spcPts val="600"/>
              </a:spcAft>
            </a:pPr>
            <a:r>
              <a:rPr lang="en-US" sz="1600" dirty="0">
                <a:solidFill>
                  <a:schemeClr val="bg1"/>
                </a:solidFill>
                <a:sym typeface="Trebuchet MS" panose="020B0603020202020204" pitchFamily="34" charset="0"/>
              </a:rPr>
              <a:t>In Python, we can </a:t>
            </a:r>
            <a:r>
              <a:rPr lang="en-US" sz="1600" dirty="0">
                <a:solidFill>
                  <a:srgbClr val="D4DF33"/>
                </a:solidFill>
                <a:sym typeface="Trebuchet MS" panose="020B0603020202020204" pitchFamily="34" charset="0"/>
              </a:rPr>
              <a:t>restrict access </a:t>
            </a:r>
            <a:r>
              <a:rPr lang="en-US" sz="1600" dirty="0">
                <a:solidFill>
                  <a:schemeClr val="bg1"/>
                </a:solidFill>
                <a:sym typeface="Trebuchet MS" panose="020B0603020202020204" pitchFamily="34" charset="0"/>
              </a:rPr>
              <a:t>to methods and variables from direct modification using getter and setter methods. However using </a:t>
            </a:r>
            <a:r>
              <a:rPr lang="en-US" sz="1600" dirty="0">
                <a:solidFill>
                  <a:srgbClr val="D4DF33"/>
                </a:solidFill>
                <a:sym typeface="Trebuchet MS" panose="020B0603020202020204" pitchFamily="34" charset="0"/>
              </a:rPr>
              <a:t>property </a:t>
            </a:r>
            <a:r>
              <a:rPr lang="en-US" sz="1600" dirty="0">
                <a:solidFill>
                  <a:srgbClr val="FFFFFF"/>
                </a:solidFill>
                <a:sym typeface="Trebuchet MS" panose="020B0603020202020204" pitchFamily="34" charset="0"/>
              </a:rPr>
              <a:t>and </a:t>
            </a:r>
            <a:r>
              <a:rPr lang="en-US" sz="1600" dirty="0">
                <a:solidFill>
                  <a:srgbClr val="D4DF33"/>
                </a:solidFill>
                <a:sym typeface="Trebuchet MS" panose="020B0603020202020204" pitchFamily="34" charset="0"/>
              </a:rPr>
              <a:t>property.setter decorators </a:t>
            </a:r>
            <a:r>
              <a:rPr lang="en-US" sz="1600" dirty="0">
                <a:solidFill>
                  <a:schemeClr val="bg1"/>
                </a:solidFill>
                <a:sym typeface="Trebuchet MS" panose="020B0603020202020204" pitchFamily="34" charset="0"/>
              </a:rPr>
              <a:t>is more pythonic</a:t>
            </a:r>
          </a:p>
          <a:p>
            <a:pPr>
              <a:lnSpc>
                <a:spcPct val="90000"/>
              </a:lnSpc>
              <a:spcAft>
                <a:spcPts val="600"/>
              </a:spcAft>
            </a:pPr>
            <a:endParaRPr lang="en-US" sz="900" dirty="0">
              <a:solidFill>
                <a:schemeClr val="bg1"/>
              </a:solidFill>
              <a:sym typeface="Trebuchet MS" panose="020B0603020202020204" pitchFamily="34" charset="0"/>
            </a:endParaRPr>
          </a:p>
          <a:p>
            <a:pPr>
              <a:lnSpc>
                <a:spcPct val="90000"/>
              </a:lnSpc>
              <a:spcAft>
                <a:spcPts val="600"/>
              </a:spcAft>
            </a:pPr>
            <a:r>
              <a:rPr lang="en-US" sz="1600" dirty="0">
                <a:solidFill>
                  <a:schemeClr val="bg1"/>
                </a:solidFill>
                <a:sym typeface="Trebuchet MS" panose="020B0603020202020204" pitchFamily="34" charset="0"/>
              </a:rPr>
              <a:t>In Python, </a:t>
            </a:r>
            <a:r>
              <a:rPr lang="en-US" sz="1600" dirty="0" smtClean="0">
                <a:solidFill>
                  <a:srgbClr val="D4DF33"/>
                </a:solidFill>
                <a:sym typeface="Trebuchet MS" panose="020B0603020202020204" pitchFamily="34" charset="0"/>
              </a:rPr>
              <a:t>private attributes / methods </a:t>
            </a:r>
            <a:r>
              <a:rPr lang="en-US" sz="1600" dirty="0" smtClean="0">
                <a:solidFill>
                  <a:schemeClr val="bg1"/>
                </a:solidFill>
                <a:sym typeface="Trebuchet MS" panose="020B0603020202020204" pitchFamily="34" charset="0"/>
              </a:rPr>
              <a:t>are </a:t>
            </a:r>
            <a:r>
              <a:rPr lang="en-US" sz="1600" dirty="0">
                <a:solidFill>
                  <a:schemeClr val="bg1"/>
                </a:solidFill>
                <a:sym typeface="Trebuchet MS" panose="020B0603020202020204" pitchFamily="34" charset="0"/>
              </a:rPr>
              <a:t>denoted using single leading underscore </a:t>
            </a:r>
            <a:r>
              <a:rPr lang="en-US" sz="1600" dirty="0">
                <a:solidFill>
                  <a:srgbClr val="D4DF33"/>
                </a:solidFill>
                <a:sym typeface="Trebuchet MS" panose="020B0603020202020204" pitchFamily="34" charset="0"/>
              </a:rPr>
              <a:t>“ _ “ </a:t>
            </a:r>
            <a:r>
              <a:rPr lang="en-US" sz="1600" dirty="0">
                <a:solidFill>
                  <a:schemeClr val="bg1"/>
                </a:solidFill>
                <a:sym typeface="Trebuchet MS" panose="020B0603020202020204" pitchFamily="34" charset="0"/>
              </a:rPr>
              <a:t>or double leading underscore </a:t>
            </a:r>
            <a:r>
              <a:rPr lang="en-US" sz="1600" dirty="0">
                <a:solidFill>
                  <a:srgbClr val="D4DF33"/>
                </a:solidFill>
                <a:sym typeface="Trebuchet MS" panose="020B0603020202020204" pitchFamily="34" charset="0"/>
              </a:rPr>
              <a:t>“ __“ </a:t>
            </a:r>
            <a:r>
              <a:rPr lang="en-US" sz="1600" dirty="0">
                <a:solidFill>
                  <a:schemeClr val="bg1"/>
                </a:solidFill>
                <a:sym typeface="Trebuchet MS" panose="020B0603020202020204" pitchFamily="34" charset="0"/>
              </a:rPr>
              <a:t>if the attribute should not be </a:t>
            </a:r>
            <a:r>
              <a:rPr lang="en-US" sz="1600" dirty="0" err="1" smtClean="0">
                <a:solidFill>
                  <a:schemeClr val="bg1"/>
                </a:solidFill>
                <a:sym typeface="Trebuchet MS" panose="020B0603020202020204" pitchFamily="34" charset="0"/>
              </a:rPr>
              <a:t>subclassed</a:t>
            </a:r>
            <a:r>
              <a:rPr lang="en-US" sz="1600" smtClean="0">
                <a:solidFill>
                  <a:schemeClr val="bg1"/>
                </a:solidFill>
                <a:sym typeface="Trebuchet MS" panose="020B0603020202020204" pitchFamily="34" charset="0"/>
              </a:rPr>
              <a:t> (not </a:t>
            </a:r>
            <a:r>
              <a:rPr lang="en-US" sz="1600" dirty="0" smtClean="0">
                <a:solidFill>
                  <a:schemeClr val="bg1"/>
                </a:solidFill>
                <a:sym typeface="Trebuchet MS" panose="020B0603020202020204" pitchFamily="34" charset="0"/>
              </a:rPr>
              <a:t>accessible   from outside of the class)</a:t>
            </a:r>
            <a:endParaRPr lang="en-US" sz="1600" dirty="0">
              <a:solidFill>
                <a:schemeClr val="bg1"/>
              </a:solidFill>
              <a:sym typeface="Trebuchet MS" panose="020B0603020202020204" pitchFamily="34" charset="0"/>
            </a:endParaRPr>
          </a:p>
          <a:p>
            <a:pPr marL="108000" lvl="1">
              <a:spcAft>
                <a:spcPts val="600"/>
              </a:spcAft>
              <a:buClr>
                <a:schemeClr val="tx2">
                  <a:lumMod val="100000"/>
                </a:schemeClr>
              </a:buClr>
              <a:buSzPct val="100000"/>
            </a:pPr>
            <a:endParaRPr lang="en-US" sz="2000" dirty="0">
              <a:solidFill>
                <a:schemeClr val="bg1"/>
              </a:solidFill>
            </a:endParaRPr>
          </a:p>
        </p:txBody>
      </p:sp>
      <p:sp>
        <p:nvSpPr>
          <p:cNvPr id="15" name="TextBox 14"/>
          <p:cNvSpPr txBox="1"/>
          <p:nvPr/>
        </p:nvSpPr>
        <p:spPr>
          <a:xfrm>
            <a:off x="4405651" y="4589312"/>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 :</a:t>
            </a:r>
          </a:p>
        </p:txBody>
      </p:sp>
      <p:grpSp>
        <p:nvGrpSpPr>
          <p:cNvPr id="19" name="Group 18"/>
          <p:cNvGrpSpPr/>
          <p:nvPr/>
        </p:nvGrpSpPr>
        <p:grpSpPr>
          <a:xfrm>
            <a:off x="7376612" y="2598530"/>
            <a:ext cx="1290058" cy="457200"/>
            <a:chOff x="7558667" y="1346247"/>
            <a:chExt cx="1290058" cy="457200"/>
          </a:xfrm>
        </p:grpSpPr>
        <p:cxnSp>
          <p:nvCxnSpPr>
            <p:cNvPr id="11" name="Straight Connector 10"/>
            <p:cNvCxnSpPr/>
            <p:nvPr/>
          </p:nvCxnSpPr>
          <p:spPr>
            <a:xfrm>
              <a:off x="7558667" y="1574847"/>
              <a:ext cx="323773" cy="0"/>
            </a:xfrm>
            <a:prstGeom prst="line">
              <a:avLst/>
            </a:prstGeom>
            <a:noFill/>
            <a:ln w="19050" cap="rnd" cmpd="sng" algn="ctr">
              <a:solidFill>
                <a:srgbClr val="6E6F73"/>
              </a:solidFill>
              <a:prstDash val="solid"/>
              <a:round/>
              <a:headEnd type="oval" w="med" len="med"/>
              <a:tailEnd type="none" w="sm" len="sm"/>
            </a:ln>
            <a:effectLst/>
          </p:spPr>
        </p:cxnSp>
        <p:cxnSp>
          <p:nvCxnSpPr>
            <p:cNvPr id="9" name="Straight Connector 8"/>
            <p:cNvCxnSpPr/>
            <p:nvPr/>
          </p:nvCxnSpPr>
          <p:spPr>
            <a:xfrm>
              <a:off x="7896225" y="1346247"/>
              <a:ext cx="0" cy="457200"/>
            </a:xfrm>
            <a:prstGeom prst="line">
              <a:avLst/>
            </a:prstGeom>
            <a:ln w="2857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913299" y="1457325"/>
              <a:ext cx="935426" cy="2350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getter</a:t>
              </a:r>
            </a:p>
          </p:txBody>
        </p:sp>
      </p:grpSp>
      <p:grpSp>
        <p:nvGrpSpPr>
          <p:cNvPr id="20" name="Group 19"/>
          <p:cNvGrpSpPr/>
          <p:nvPr/>
        </p:nvGrpSpPr>
        <p:grpSpPr>
          <a:xfrm>
            <a:off x="7376612" y="3375353"/>
            <a:ext cx="1290058" cy="457200"/>
            <a:chOff x="7558667" y="1346247"/>
            <a:chExt cx="1290058" cy="457200"/>
          </a:xfrm>
        </p:grpSpPr>
        <p:cxnSp>
          <p:nvCxnSpPr>
            <p:cNvPr id="21" name="Straight Connector 20"/>
            <p:cNvCxnSpPr/>
            <p:nvPr/>
          </p:nvCxnSpPr>
          <p:spPr>
            <a:xfrm>
              <a:off x="7558667" y="1574847"/>
              <a:ext cx="323773" cy="0"/>
            </a:xfrm>
            <a:prstGeom prst="line">
              <a:avLst/>
            </a:prstGeom>
            <a:noFill/>
            <a:ln w="19050" cap="rnd" cmpd="sng" algn="ctr">
              <a:solidFill>
                <a:srgbClr val="6E6F73"/>
              </a:solidFill>
              <a:prstDash val="solid"/>
              <a:round/>
              <a:headEnd type="oval" w="med" len="med"/>
              <a:tailEnd type="none" w="sm" len="sm"/>
            </a:ln>
            <a:effectLst/>
          </p:spPr>
        </p:cxnSp>
        <p:cxnSp>
          <p:nvCxnSpPr>
            <p:cNvPr id="22" name="Straight Connector 21"/>
            <p:cNvCxnSpPr/>
            <p:nvPr/>
          </p:nvCxnSpPr>
          <p:spPr>
            <a:xfrm>
              <a:off x="7896225" y="1346247"/>
              <a:ext cx="0" cy="457200"/>
            </a:xfrm>
            <a:prstGeom prst="line">
              <a:avLst/>
            </a:prstGeom>
            <a:ln w="2857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913299" y="1457325"/>
              <a:ext cx="935426" cy="2350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setter</a:t>
              </a:r>
            </a:p>
          </p:txBody>
        </p:sp>
      </p:grpSp>
      <p:sp>
        <p:nvSpPr>
          <p:cNvPr id="10" name="Rectangle 9"/>
          <p:cNvSpPr/>
          <p:nvPr/>
        </p:nvSpPr>
        <p:spPr>
          <a:xfrm>
            <a:off x="4394485" y="4904622"/>
            <a:ext cx="1960097" cy="1107996"/>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dirty="0">
                <a:solidFill>
                  <a:srgbClr val="000000"/>
                </a:solidFill>
                <a:latin typeface="Consolas" panose="020B0609020204030204" pitchFamily="49" charset="0"/>
              </a:rPr>
              <a:t>user1 = User(100)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print</a:t>
            </a:r>
            <a:r>
              <a:rPr lang="en-US" sz="1100" dirty="0">
                <a:solidFill>
                  <a:srgbClr val="000000"/>
                </a:solidFill>
                <a:latin typeface="Consolas" panose="020B0609020204030204" pitchFamily="49" charset="0"/>
              </a:rPr>
              <a:t>(user1.__amoun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user1.amoun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user1.amount = 50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user1.amount = 90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user1.amount  </a:t>
            </a:r>
            <a:endParaRPr lang="en-US" sz="1100" b="0" i="0" dirty="0">
              <a:solidFill>
                <a:srgbClr val="5C5C5C"/>
              </a:solidFill>
              <a:effectLst/>
              <a:latin typeface="Consolas" panose="020B0609020204030204" pitchFamily="49" charset="0"/>
            </a:endParaRPr>
          </a:p>
        </p:txBody>
      </p:sp>
      <p:sp>
        <p:nvSpPr>
          <p:cNvPr id="13" name="Rectangle 12"/>
          <p:cNvSpPr/>
          <p:nvPr/>
        </p:nvSpPr>
        <p:spPr>
          <a:xfrm>
            <a:off x="6498482" y="4904622"/>
            <a:ext cx="5064868" cy="1446550"/>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dirty="0">
                <a:solidFill>
                  <a:srgbClr val="000000"/>
                </a:solidFill>
                <a:latin typeface="Consolas" panose="020B0609020204030204" pitchFamily="49" charset="0"/>
              </a:rPr>
              <a:t>-&gt; </a:t>
            </a:r>
            <a:r>
              <a:rPr lang="en-US" sz="1100" dirty="0" err="1">
                <a:solidFill>
                  <a:srgbClr val="000000"/>
                </a:solidFill>
                <a:latin typeface="Consolas" panose="020B0609020204030204" pitchFamily="49" charset="0"/>
              </a:rPr>
              <a:t>AttributeError</a:t>
            </a:r>
            <a:r>
              <a:rPr lang="en-US" sz="1100" dirty="0">
                <a:solidFill>
                  <a:srgbClr val="000000"/>
                </a:solidFill>
                <a:latin typeface="Consolas" panose="020B0609020204030204" pitchFamily="49" charset="0"/>
              </a:rPr>
              <a:t>: </a:t>
            </a:r>
            <a:r>
              <a:rPr lang="en-US" sz="1100" dirty="0">
                <a:solidFill>
                  <a:srgbClr val="0000FF"/>
                </a:solidFill>
                <a:latin typeface="Consolas" panose="020B0609020204030204" pitchFamily="49" charset="0"/>
              </a:rPr>
              <a:t>'User'</a:t>
            </a:r>
            <a:r>
              <a:rPr lang="en-US" sz="1100" dirty="0">
                <a:solidFill>
                  <a:srgbClr val="000000"/>
                </a:solidFill>
                <a:latin typeface="Consolas" panose="020B0609020204030204" pitchFamily="49" charset="0"/>
              </a:rPr>
              <a:t> object has no attribute </a:t>
            </a:r>
            <a:r>
              <a:rPr lang="en-US" sz="1100" dirty="0">
                <a:solidFill>
                  <a:srgbClr val="0000FF"/>
                </a:solidFill>
                <a:latin typeface="Consolas" panose="020B0609020204030204" pitchFamily="49" charset="0"/>
              </a:rPr>
              <a:t>'__amount'</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entering the ge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100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entering the se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gt; </a:t>
            </a:r>
            <a:r>
              <a:rPr lang="en-US" sz="1100" dirty="0" err="1">
                <a:solidFill>
                  <a:srgbClr val="000000"/>
                </a:solidFill>
                <a:latin typeface="Consolas" panose="020B0609020204030204" pitchFamily="49" charset="0"/>
              </a:rPr>
              <a:t>ValueError</a:t>
            </a:r>
            <a:r>
              <a:rPr lang="en-US" sz="1100" dirty="0">
                <a:solidFill>
                  <a:srgbClr val="000000"/>
                </a:solidFill>
                <a:latin typeface="Consolas" panose="020B0609020204030204" pitchFamily="49" charset="0"/>
              </a:rPr>
              <a:t>: We cant give the user an amount lower than 80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entering the se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entering the ge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90  </a:t>
            </a:r>
            <a:endParaRPr lang="en-US" sz="1100" b="0" i="0" dirty="0">
              <a:solidFill>
                <a:srgbClr val="5C5C5C"/>
              </a:solidFill>
              <a:effectLst/>
              <a:latin typeface="Consolas" panose="020B0609020204030204" pitchFamily="49" charset="0"/>
            </a:endParaRPr>
          </a:p>
        </p:txBody>
      </p:sp>
    </p:spTree>
    <p:custDataLst>
      <p:tags r:id="rId2"/>
    </p:custDataLst>
    <p:extLst>
      <p:ext uri="{BB962C8B-B14F-4D97-AF65-F5344CB8AC3E}">
        <p14:creationId xmlns:p14="http://schemas.microsoft.com/office/powerpoint/2010/main" val="21590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04"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TextBox 7"/>
          <p:cNvSpPr txBox="1"/>
          <p:nvPr/>
        </p:nvSpPr>
        <p:spPr>
          <a:xfrm>
            <a:off x="4520725" y="677483"/>
            <a:ext cx="4299425" cy="5637592"/>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200" dirty="0">
                <a:solidFill>
                  <a:srgbClr val="008200"/>
                </a:solidFill>
                <a:latin typeface="Consolas" panose="020B0609020204030204" pitchFamily="49" charset="0"/>
              </a:rPr>
              <a:t># parent class</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b="1" dirty="0">
                <a:solidFill>
                  <a:srgbClr val="006699"/>
                </a:solidFill>
                <a:latin typeface="Consolas" panose="020B0609020204030204" pitchFamily="49" charset="0"/>
              </a:rPr>
              <a:t>class</a:t>
            </a:r>
            <a:r>
              <a:rPr lang="fr-FR" sz="1200" dirty="0">
                <a:solidFill>
                  <a:srgbClr val="000000"/>
                </a:solidFill>
                <a:latin typeface="Consolas" panose="020B0609020204030204" pitchFamily="49" charset="0"/>
              </a:rPr>
              <a:t> Bird: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__init__(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Bird is ready"</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whoisThis(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Bird"</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swim(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Swim faster"</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8200"/>
                </a:solidFill>
                <a:latin typeface="Consolas" panose="020B0609020204030204" pitchFamily="49" charset="0"/>
              </a:rPr>
              <a:t># child class</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b="1" dirty="0">
                <a:solidFill>
                  <a:srgbClr val="006699"/>
                </a:solidFill>
                <a:latin typeface="Consolas" panose="020B0609020204030204" pitchFamily="49" charset="0"/>
              </a:rPr>
              <a:t>class</a:t>
            </a:r>
            <a:r>
              <a:rPr lang="fr-FR" sz="1200" dirty="0">
                <a:solidFill>
                  <a:srgbClr val="000000"/>
                </a:solidFill>
                <a:latin typeface="Consolas" panose="020B0609020204030204" pitchFamily="49" charset="0"/>
              </a:rPr>
              <a:t> Penguin(Bird):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__init__(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dirty="0">
                <a:solidFill>
                  <a:srgbClr val="008200"/>
                </a:solidFill>
                <a:latin typeface="Consolas" panose="020B0609020204030204" pitchFamily="49" charset="0"/>
              </a:rPr>
              <a:t># call super() function</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super().__init__()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Penguin is ready"</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whoisThis(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Penguin"</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run(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Run faster"</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peggy = Penguin()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peggy.whoisThis()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peggy.swim()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peggy.run()  </a:t>
            </a:r>
            <a:endParaRPr lang="fr-FR" sz="1200" b="0" i="0" dirty="0">
              <a:solidFill>
                <a:srgbClr val="5C5C5C"/>
              </a:solidFill>
              <a:effectLst/>
              <a:latin typeface="Consolas" panose="020B0609020204030204" pitchFamily="49" charset="0"/>
            </a:endParaRPr>
          </a:p>
        </p:txBody>
      </p:sp>
      <p:sp>
        <p:nvSpPr>
          <p:cNvPr id="3" name="Title 2"/>
          <p:cNvSpPr>
            <a:spLocks noGrp="1"/>
          </p:cNvSpPr>
          <p:nvPr>
            <p:ph type="title"/>
          </p:nvPr>
        </p:nvSpPr>
        <p:spPr>
          <a:xfrm>
            <a:off x="113496" y="1613174"/>
            <a:ext cx="3127881" cy="602823"/>
          </a:xfrm>
        </p:spPr>
        <p:txBody>
          <a:bodyPr/>
          <a:lstStyle/>
          <a:p>
            <a:pPr algn="ctr"/>
            <a:r>
              <a:rPr lang="en-US" dirty="0"/>
              <a:t>Inheritance</a:t>
            </a:r>
          </a:p>
        </p:txBody>
      </p:sp>
      <p:sp>
        <p:nvSpPr>
          <p:cNvPr id="5" name="TextBox 4"/>
          <p:cNvSpPr txBox="1"/>
          <p:nvPr/>
        </p:nvSpPr>
        <p:spPr>
          <a:xfrm>
            <a:off x="408273" y="2167731"/>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spcAft>
                <a:spcPts val="600"/>
              </a:spcAft>
              <a:buClr>
                <a:schemeClr val="tx2">
                  <a:lumMod val="100000"/>
                </a:schemeClr>
              </a:buClr>
              <a:buSzPct val="100000"/>
            </a:pPr>
            <a:r>
              <a:rPr lang="en-US" sz="1600" dirty="0">
                <a:solidFill>
                  <a:srgbClr val="FFFFFF"/>
                </a:solidFill>
                <a:latin typeface="Trebuchet MS" panose="020B0603020202020204" pitchFamily="34" charset="0"/>
                <a:sym typeface="Trebuchet MS" panose="020B0603020202020204" pitchFamily="34" charset="0"/>
              </a:rPr>
              <a:t>Inheritance is a way of creating a new class leveraging attributes and behaviors from an existing class</a:t>
            </a:r>
          </a:p>
          <a:p>
            <a:pPr marL="108000" lvl="1">
              <a:spcAft>
                <a:spcPts val="600"/>
              </a:spcAft>
              <a:buClr>
                <a:schemeClr val="tx2">
                  <a:lumMod val="100000"/>
                </a:schemeClr>
              </a:buClr>
              <a:buSzPct val="100000"/>
            </a:pPr>
            <a:r>
              <a:rPr lang="en-US" sz="1600" dirty="0">
                <a:solidFill>
                  <a:srgbClr val="FFFFFF"/>
                </a:solidFill>
                <a:latin typeface="Trebuchet MS" panose="020B0603020202020204" pitchFamily="34" charset="0"/>
                <a:sym typeface="Trebuchet MS" panose="020B0603020202020204" pitchFamily="34" charset="0"/>
              </a:rPr>
              <a:t> </a:t>
            </a:r>
          </a:p>
          <a:p>
            <a:pPr marL="108000" lvl="1">
              <a:spcAft>
                <a:spcPts val="600"/>
              </a:spcAft>
              <a:buClr>
                <a:schemeClr val="tx2">
                  <a:lumMod val="100000"/>
                </a:schemeClr>
              </a:buClr>
              <a:buSzPct val="100000"/>
            </a:pPr>
            <a:r>
              <a:rPr lang="en-US" sz="1600" dirty="0">
                <a:solidFill>
                  <a:srgbClr val="FFFFFF"/>
                </a:solidFill>
                <a:latin typeface="Trebuchet MS" panose="020B0603020202020204" pitchFamily="34" charset="0"/>
              </a:rPr>
              <a:t>The newly formed class is a </a:t>
            </a:r>
            <a:r>
              <a:rPr lang="en-US" sz="1600" dirty="0">
                <a:solidFill>
                  <a:srgbClr val="D4DF33"/>
                </a:solidFill>
                <a:latin typeface="Trebuchet MS" panose="020B0603020202020204" pitchFamily="34" charset="0"/>
              </a:rPr>
              <a:t>derived class </a:t>
            </a:r>
            <a:r>
              <a:rPr lang="en-US" sz="1600" dirty="0">
                <a:solidFill>
                  <a:srgbClr val="FFFFFF"/>
                </a:solidFill>
                <a:latin typeface="Trebuchet MS" panose="020B0603020202020204" pitchFamily="34" charset="0"/>
              </a:rPr>
              <a:t>(or child class). Similarly, the existing class is a </a:t>
            </a:r>
            <a:r>
              <a:rPr lang="en-US" sz="1600" dirty="0">
                <a:solidFill>
                  <a:srgbClr val="D4DF33"/>
                </a:solidFill>
                <a:latin typeface="Trebuchet MS" panose="020B0603020202020204" pitchFamily="34" charset="0"/>
              </a:rPr>
              <a:t>base class</a:t>
            </a:r>
            <a:r>
              <a:rPr lang="en-US" sz="1600" b="1" dirty="0">
                <a:solidFill>
                  <a:srgbClr val="FFFFFF"/>
                </a:solidFill>
                <a:latin typeface="Trebuchet MS" panose="020B0603020202020204" pitchFamily="34" charset="0"/>
              </a:rPr>
              <a:t> </a:t>
            </a:r>
            <a:r>
              <a:rPr lang="en-US" sz="1600" dirty="0">
                <a:solidFill>
                  <a:srgbClr val="FFFFFF"/>
                </a:solidFill>
                <a:latin typeface="Trebuchet MS" panose="020B0603020202020204" pitchFamily="34" charset="0"/>
              </a:rPr>
              <a:t>(or parent class).</a:t>
            </a:r>
          </a:p>
          <a:p>
            <a:pPr marL="108000" lvl="1">
              <a:buClr>
                <a:schemeClr val="tx2">
                  <a:lumMod val="100000"/>
                </a:schemeClr>
              </a:buClr>
              <a:buSzPct val="100000"/>
            </a:pPr>
            <a:endParaRPr lang="en-US" sz="1600" dirty="0">
              <a:solidFill>
                <a:srgbClr val="FFFFFF"/>
              </a:solidFill>
              <a:latin typeface="Trebuchet MS" panose="020B0603020202020204" pitchFamily="34" charset="0"/>
            </a:endParaRPr>
          </a:p>
          <a:p>
            <a:pPr marL="108000" lvl="1">
              <a:buClr>
                <a:schemeClr val="tx2">
                  <a:lumMod val="100000"/>
                </a:schemeClr>
              </a:buClr>
              <a:buSzPct val="100000"/>
            </a:pPr>
            <a:r>
              <a:rPr lang="en-US" sz="1600" dirty="0">
                <a:solidFill>
                  <a:srgbClr val="FFFFFF"/>
                </a:solidFill>
                <a:latin typeface="Trebuchet MS" panose="020B0603020202020204" pitchFamily="34" charset="0"/>
              </a:rPr>
              <a:t>Python </a:t>
            </a:r>
            <a:r>
              <a:rPr lang="en-US" sz="1600" dirty="0">
                <a:solidFill>
                  <a:srgbClr val="D4DF33"/>
                </a:solidFill>
                <a:latin typeface="Trebuchet MS" panose="020B0603020202020204" pitchFamily="34" charset="0"/>
              </a:rPr>
              <a:t>super() </a:t>
            </a:r>
            <a:r>
              <a:rPr lang="en-US" sz="1600" dirty="0">
                <a:solidFill>
                  <a:srgbClr val="FFFFFF"/>
                </a:solidFill>
                <a:latin typeface="Trebuchet MS" panose="020B0603020202020204" pitchFamily="34" charset="0"/>
              </a:rPr>
              <a:t>function allows us to refer the superclass implicitly</a:t>
            </a:r>
          </a:p>
        </p:txBody>
      </p:sp>
      <p:sp>
        <p:nvSpPr>
          <p:cNvPr id="11" name="TextBox 10"/>
          <p:cNvSpPr txBox="1"/>
          <p:nvPr/>
        </p:nvSpPr>
        <p:spPr>
          <a:xfrm>
            <a:off x="8937065" y="2572099"/>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 :</a:t>
            </a:r>
          </a:p>
        </p:txBody>
      </p:sp>
      <p:cxnSp>
        <p:nvCxnSpPr>
          <p:cNvPr id="17" name="Straight Arrow Connector 16"/>
          <p:cNvCxnSpPr>
            <a:stCxn id="7" idx="1"/>
          </p:cNvCxnSpPr>
          <p:nvPr/>
        </p:nvCxnSpPr>
        <p:spPr>
          <a:xfrm flipH="1">
            <a:off x="7223350" y="1507531"/>
            <a:ext cx="1817443" cy="2180023"/>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9040793" y="1100475"/>
            <a:ext cx="2462658" cy="814111"/>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Robust way to write Bird.__init__(self)</a:t>
            </a:r>
          </a:p>
        </p:txBody>
      </p:sp>
      <p:sp>
        <p:nvSpPr>
          <p:cNvPr id="12" name="TextBox 11"/>
          <p:cNvSpPr txBox="1"/>
          <p:nvPr/>
        </p:nvSpPr>
        <p:spPr>
          <a:xfrm>
            <a:off x="9040793" y="3116980"/>
            <a:ext cx="2078476" cy="1027605"/>
          </a:xfrm>
          <a:prstGeom prst="rect">
            <a:avLst/>
          </a:prstGeom>
          <a:solidFill>
            <a:schemeClr val="bg1"/>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37373A"/>
                </a:solidFill>
                <a:latin typeface="Consolas" panose="020B0609020204030204" pitchFamily="49" charset="0"/>
              </a:rPr>
              <a:t>Bird is ready</a:t>
            </a:r>
          </a:p>
          <a:p>
            <a:r>
              <a:rPr lang="en-US" sz="1200" dirty="0">
                <a:solidFill>
                  <a:srgbClr val="37373A"/>
                </a:solidFill>
                <a:latin typeface="Consolas" panose="020B0609020204030204" pitchFamily="49" charset="0"/>
              </a:rPr>
              <a:t>Penguin is ready</a:t>
            </a:r>
          </a:p>
          <a:p>
            <a:r>
              <a:rPr lang="en-US" sz="1200" dirty="0">
                <a:solidFill>
                  <a:srgbClr val="37373A"/>
                </a:solidFill>
                <a:latin typeface="Consolas" panose="020B0609020204030204" pitchFamily="49" charset="0"/>
              </a:rPr>
              <a:t>Penguin</a:t>
            </a:r>
          </a:p>
          <a:p>
            <a:r>
              <a:rPr lang="en-US" sz="1200" dirty="0">
                <a:solidFill>
                  <a:srgbClr val="37373A"/>
                </a:solidFill>
                <a:latin typeface="Consolas" panose="020B0609020204030204" pitchFamily="49" charset="0"/>
              </a:rPr>
              <a:t>Swim faster</a:t>
            </a:r>
          </a:p>
          <a:p>
            <a:r>
              <a:rPr lang="en-US" sz="1200" dirty="0">
                <a:solidFill>
                  <a:srgbClr val="37373A"/>
                </a:solidFill>
                <a:latin typeface="Consolas" panose="020B0609020204030204" pitchFamily="49" charset="0"/>
              </a:rPr>
              <a:t>Run faster</a:t>
            </a:r>
          </a:p>
        </p:txBody>
      </p:sp>
    </p:spTree>
    <p:custDataLst>
      <p:tags r:id="rId2"/>
    </p:custDataLst>
    <p:extLst>
      <p:ext uri="{BB962C8B-B14F-4D97-AF65-F5344CB8AC3E}">
        <p14:creationId xmlns:p14="http://schemas.microsoft.com/office/powerpoint/2010/main" val="2491853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29"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304050" y="1637025"/>
            <a:ext cx="3127881" cy="444188"/>
          </a:xfrm>
        </p:spPr>
        <p:txBody>
          <a:bodyPr/>
          <a:lstStyle/>
          <a:p>
            <a:pPr algn="ctr"/>
            <a:r>
              <a:rPr lang="en-US" dirty="0"/>
              <a:t>Polymorphism</a:t>
            </a:r>
          </a:p>
        </p:txBody>
      </p:sp>
      <p:sp>
        <p:nvSpPr>
          <p:cNvPr id="5" name="TextBox 4"/>
          <p:cNvSpPr txBox="1"/>
          <p:nvPr/>
        </p:nvSpPr>
        <p:spPr>
          <a:xfrm>
            <a:off x="525260" y="2190034"/>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chemeClr val="bg1"/>
                </a:solidFill>
              </a:rPr>
              <a:t>Polymorphism is an ability (in OOP) to </a:t>
            </a:r>
            <a:r>
              <a:rPr lang="en-US" sz="1600" dirty="0">
                <a:solidFill>
                  <a:srgbClr val="FFFFFF"/>
                </a:solidFill>
              </a:rPr>
              <a:t>use</a:t>
            </a:r>
            <a:r>
              <a:rPr lang="en-US" sz="1600" dirty="0">
                <a:solidFill>
                  <a:srgbClr val="D4DF33"/>
                </a:solidFill>
              </a:rPr>
              <a:t> common interface for multiple forms</a:t>
            </a:r>
            <a:r>
              <a:rPr lang="en-US" sz="1600" dirty="0">
                <a:solidFill>
                  <a:schemeClr val="bg1"/>
                </a:solidFill>
              </a:rPr>
              <a:t> (data types)</a:t>
            </a:r>
          </a:p>
          <a:p>
            <a:endParaRPr lang="en-US" sz="1600" dirty="0">
              <a:solidFill>
                <a:schemeClr val="bg1"/>
              </a:solidFill>
            </a:endParaRPr>
          </a:p>
          <a:p>
            <a:r>
              <a:rPr lang="en-US" sz="1600" dirty="0">
                <a:solidFill>
                  <a:schemeClr val="bg1"/>
                </a:solidFill>
              </a:rPr>
              <a:t>Suppose, we need to color a shape, there are multiple shape option (rectangle, square, circle). However we could use the same method to color any shape. This concept is called Polymorphism</a:t>
            </a:r>
          </a:p>
        </p:txBody>
      </p:sp>
      <p:sp>
        <p:nvSpPr>
          <p:cNvPr id="10" name="TextBox 9"/>
          <p:cNvSpPr txBox="1"/>
          <p:nvPr/>
        </p:nvSpPr>
        <p:spPr>
          <a:xfrm>
            <a:off x="8913391" y="2542161"/>
            <a:ext cx="1106221" cy="315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Output :</a:t>
            </a:r>
          </a:p>
        </p:txBody>
      </p:sp>
      <p:sp>
        <p:nvSpPr>
          <p:cNvPr id="7" name="TextBox 6"/>
          <p:cNvSpPr txBox="1"/>
          <p:nvPr/>
        </p:nvSpPr>
        <p:spPr>
          <a:xfrm>
            <a:off x="4667250" y="1222917"/>
            <a:ext cx="3905250" cy="5368685"/>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200" b="1" dirty="0">
                <a:solidFill>
                  <a:srgbClr val="006699"/>
                </a:solidFill>
                <a:latin typeface="Consolas" panose="020B0609020204030204" pitchFamily="49" charset="0"/>
              </a:rPr>
              <a:t>class</a:t>
            </a:r>
            <a:r>
              <a:rPr lang="fr-FR" sz="1200" dirty="0">
                <a:solidFill>
                  <a:srgbClr val="000000"/>
                </a:solidFill>
                <a:latin typeface="Consolas" panose="020B0609020204030204" pitchFamily="49" charset="0"/>
              </a:rPr>
              <a:t> Parro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fly(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Parrot can fly"</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swim(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Parrot can't swim"</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b="1" dirty="0">
                <a:solidFill>
                  <a:srgbClr val="006699"/>
                </a:solidFill>
                <a:latin typeface="Consolas" panose="020B0609020204030204" pitchFamily="49" charset="0"/>
              </a:rPr>
              <a:t>class</a:t>
            </a:r>
            <a:r>
              <a:rPr lang="fr-FR" sz="1200" dirty="0">
                <a:solidFill>
                  <a:srgbClr val="000000"/>
                </a:solidFill>
                <a:latin typeface="Consolas" panose="020B0609020204030204" pitchFamily="49" charset="0"/>
              </a:rPr>
              <a:t> Penguin: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fly(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Penguin can't fly"</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swim(self):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b="1" dirty="0">
                <a:solidFill>
                  <a:srgbClr val="006699"/>
                </a:solidFill>
                <a:latin typeface="Consolas" panose="020B0609020204030204" pitchFamily="49" charset="0"/>
              </a:rPr>
              <a:t>print</a:t>
            </a:r>
            <a:r>
              <a:rPr lang="fr-FR" sz="1200" dirty="0">
                <a:solidFill>
                  <a:srgbClr val="000000"/>
                </a:solidFill>
                <a:latin typeface="Consolas" panose="020B0609020204030204" pitchFamily="49" charset="0"/>
              </a:rPr>
              <a:t>(</a:t>
            </a:r>
            <a:r>
              <a:rPr lang="fr-FR" sz="1200" dirty="0">
                <a:solidFill>
                  <a:srgbClr val="0000FF"/>
                </a:solidFill>
                <a:latin typeface="Consolas" panose="020B0609020204030204" pitchFamily="49" charset="0"/>
              </a:rPr>
              <a:t>"Penguin can swim"</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8200"/>
                </a:solidFill>
                <a:latin typeface="Consolas" panose="020B0609020204030204" pitchFamily="49" charset="0"/>
              </a:rPr>
              <a:t># common interface</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b="1" dirty="0">
                <a:solidFill>
                  <a:srgbClr val="006699"/>
                </a:solidFill>
                <a:latin typeface="Consolas" panose="020B0609020204030204" pitchFamily="49" charset="0"/>
              </a:rPr>
              <a:t>def</a:t>
            </a:r>
            <a:r>
              <a:rPr lang="fr-FR" sz="1200" dirty="0">
                <a:solidFill>
                  <a:srgbClr val="000000"/>
                </a:solidFill>
                <a:latin typeface="Consolas" panose="020B0609020204030204" pitchFamily="49" charset="0"/>
              </a:rPr>
              <a:t> flying_test(bird):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bird.fly()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8200"/>
                </a:solidFill>
                <a:latin typeface="Consolas" panose="020B0609020204030204" pitchFamily="49" charset="0"/>
              </a:rPr>
              <a:t>#instantiate objects</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blu = Parro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peggy = Penguin()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8200"/>
                </a:solidFill>
                <a:latin typeface="Consolas" panose="020B0609020204030204" pitchFamily="49" charset="0"/>
              </a:rPr>
              <a:t># passing the object</a:t>
            </a:r>
            <a:r>
              <a:rPr lang="fr-FR" sz="1200" dirty="0">
                <a:solidFill>
                  <a:srgbClr val="000000"/>
                </a:solidFill>
                <a:latin typeface="Consolas" panose="020B0609020204030204" pitchFamily="49" charset="0"/>
              </a:rPr>
              <a:t>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flying_test(blu)  </a:t>
            </a:r>
            <a:endParaRPr lang="fr-FR" sz="1200" dirty="0">
              <a:solidFill>
                <a:srgbClr val="5C5C5C"/>
              </a:solidFill>
              <a:latin typeface="Consolas" panose="020B0609020204030204" pitchFamily="49" charset="0"/>
            </a:endParaRPr>
          </a:p>
          <a:p>
            <a:r>
              <a:rPr lang="fr-FR" sz="1200" dirty="0">
                <a:solidFill>
                  <a:srgbClr val="000000"/>
                </a:solidFill>
                <a:latin typeface="Consolas" panose="020B0609020204030204" pitchFamily="49" charset="0"/>
              </a:rPr>
              <a:t>flying_test(peggy) </a:t>
            </a:r>
            <a:endParaRPr lang="fr-FR" sz="1200" dirty="0">
              <a:solidFill>
                <a:srgbClr val="5C5C5C"/>
              </a:solidFill>
              <a:latin typeface="Consolas" panose="020B0609020204030204" pitchFamily="49" charset="0"/>
            </a:endParaRPr>
          </a:p>
          <a:p>
            <a:pPr algn="ctr"/>
            <a:endParaRPr lang="en-US" sz="1200" dirty="0">
              <a:solidFill>
                <a:srgbClr val="575757"/>
              </a:solidFill>
            </a:endParaRPr>
          </a:p>
        </p:txBody>
      </p:sp>
      <p:sp>
        <p:nvSpPr>
          <p:cNvPr id="9" name="TextBox 8"/>
          <p:cNvSpPr txBox="1"/>
          <p:nvPr/>
        </p:nvSpPr>
        <p:spPr>
          <a:xfrm>
            <a:off x="8980374" y="3005847"/>
            <a:ext cx="2078476" cy="507175"/>
          </a:xfrm>
          <a:prstGeom prst="rect">
            <a:avLst/>
          </a:prstGeom>
          <a:solidFill>
            <a:schemeClr val="bg1"/>
          </a:solidFill>
          <a:ln w="9525" cap="rnd" cmpd="sng" algn="ctr">
            <a:solidFill>
              <a:srgbClr val="6E6F73"/>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37373A"/>
                </a:solidFill>
                <a:latin typeface="Consolas" panose="020B0609020204030204" pitchFamily="49" charset="0"/>
              </a:rPr>
              <a:t>Parrot can fly</a:t>
            </a:r>
          </a:p>
          <a:p>
            <a:r>
              <a:rPr lang="en-US" sz="1200" dirty="0">
                <a:solidFill>
                  <a:srgbClr val="37373A"/>
                </a:solidFill>
                <a:latin typeface="Consolas" panose="020B0609020204030204" pitchFamily="49" charset="0"/>
              </a:rPr>
              <a:t>Penguin can't fly</a:t>
            </a:r>
          </a:p>
        </p:txBody>
      </p:sp>
    </p:spTree>
    <p:custDataLst>
      <p:tags r:id="rId2"/>
    </p:custDataLst>
    <p:extLst>
      <p:ext uri="{BB962C8B-B14F-4D97-AF65-F5344CB8AC3E}">
        <p14:creationId xmlns:p14="http://schemas.microsoft.com/office/powerpoint/2010/main" val="2128288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hlinkClick r:id="rId13" action="ppaction://hlinksldjump"/>
          </p:cNvPr>
          <p:cNvSpPr/>
          <p:nvPr>
            <p:custDataLst>
              <p:tags r:id="rId2"/>
            </p:custDataLst>
          </p:nvPr>
        </p:nvSpPr>
        <p:spPr>
          <a:xfrm>
            <a:off x="5166432" y="4164441"/>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Tests</a:t>
            </a:r>
          </a:p>
        </p:txBody>
      </p:sp>
      <p:sp>
        <p:nvSpPr>
          <p:cNvPr id="10" name="Oval 9"/>
          <p:cNvSpPr/>
          <p:nvPr>
            <p:custDataLst>
              <p:tags r:id="rId3"/>
            </p:custDataLst>
          </p:nvPr>
        </p:nvSpPr>
        <p:spPr>
          <a:xfrm>
            <a:off x="4714058" y="379094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Trebuchet MS" panose="020B0603020202020204" pitchFamily="34" charset="0"/>
            </a:endParaRPr>
          </a:p>
        </p:txBody>
      </p:sp>
      <p:pic>
        <p:nvPicPr>
          <p:cNvPr id="9" name="Picture 8"/>
          <p:cNvPicPr>
            <a:picLocks/>
          </p:cNvPicPr>
          <p:nvPr>
            <p:custDataLst>
              <p:tags r:id="rId4"/>
            </p:custDataLst>
          </p:nvPr>
        </p:nvPicPr>
        <p:blipFill>
          <a:blip r:embed="rId14">
            <a:extLst>
              <a:ext uri="{28A0092B-C50C-407E-A947-70E740481C1C}">
                <a14:useLocalDpi xmlns:a14="http://schemas.microsoft.com/office/drawing/2010/main" val="0"/>
              </a:ext>
            </a:extLst>
          </a:blip>
          <a:stretch>
            <a:fillRect/>
          </a:stretch>
        </p:blipFill>
        <p:spPr>
          <a:xfrm>
            <a:off x="4714058" y="3790947"/>
            <a:ext cx="293147" cy="292608"/>
          </a:xfrm>
          <a:prstGeom prst="rect">
            <a:avLst/>
          </a:prstGeom>
        </p:spPr>
      </p:pic>
      <p:sp>
        <p:nvSpPr>
          <p:cNvPr id="8" name="Rectangle 7">
            <a:hlinkClick r:id="rId15" action="ppaction://hlinksldjump"/>
          </p:cNvPr>
          <p:cNvSpPr/>
          <p:nvPr>
            <p:custDataLst>
              <p:tags r:id="rId5"/>
            </p:custDataLst>
          </p:nvPr>
        </p:nvSpPr>
        <p:spPr>
          <a:xfrm>
            <a:off x="5166432" y="384341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100000"/>
                  </a:schemeClr>
                </a:solidFill>
                <a:latin typeface="Trebuchet MS" panose="020B0603020202020204" pitchFamily="34" charset="0"/>
              </a:rPr>
              <a:t>Built-in functions</a:t>
            </a:r>
          </a:p>
        </p:txBody>
      </p:sp>
      <p:sp>
        <p:nvSpPr>
          <p:cNvPr id="7" name="Rectangle 6">
            <a:hlinkClick r:id="rId16" action="ppaction://hlinksldjump"/>
          </p:cNvPr>
          <p:cNvSpPr/>
          <p:nvPr>
            <p:custDataLst>
              <p:tags r:id="rId6"/>
            </p:custDataLst>
          </p:nvPr>
        </p:nvSpPr>
        <p:spPr>
          <a:xfrm>
            <a:off x="5166432" y="360493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Data Encapsulation, Inheritance &amp; Polymorphism</a:t>
            </a:r>
          </a:p>
        </p:txBody>
      </p:sp>
      <p:sp>
        <p:nvSpPr>
          <p:cNvPr id="6" name="Rectangle 5">
            <a:hlinkClick r:id="rId17" action="ppaction://hlinksldjump"/>
          </p:cNvPr>
          <p:cNvSpPr/>
          <p:nvPr>
            <p:custDataLst>
              <p:tags r:id="rId7"/>
            </p:custDataLst>
          </p:nvPr>
        </p:nvSpPr>
        <p:spPr>
          <a:xfrm>
            <a:off x="5166432" y="336645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Property</a:t>
            </a:r>
          </a:p>
        </p:txBody>
      </p:sp>
      <p:sp>
        <p:nvSpPr>
          <p:cNvPr id="5" name="Rectangle 4">
            <a:hlinkClick r:id="rId18" action="ppaction://hlinksldjump"/>
          </p:cNvPr>
          <p:cNvSpPr/>
          <p:nvPr>
            <p:custDataLst>
              <p:tags r:id="rId8"/>
            </p:custDataLst>
          </p:nvPr>
        </p:nvSpPr>
        <p:spPr>
          <a:xfrm>
            <a:off x="5166432" y="312797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Class, Objects and Methods</a:t>
            </a:r>
          </a:p>
        </p:txBody>
      </p:sp>
      <p:sp>
        <p:nvSpPr>
          <p:cNvPr id="4" name="Rectangle 3">
            <a:hlinkClick r:id="rId19" action="ppaction://hlinksldjump"/>
          </p:cNvPr>
          <p:cNvSpPr/>
          <p:nvPr>
            <p:custDataLst>
              <p:tags r:id="rId9"/>
            </p:custDataLst>
          </p:nvPr>
        </p:nvSpPr>
        <p:spPr>
          <a:xfrm>
            <a:off x="5166432" y="2826910"/>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OOP Fundamentals</a:t>
            </a:r>
          </a:p>
        </p:txBody>
      </p:sp>
      <p:sp>
        <p:nvSpPr>
          <p:cNvPr id="3" name="Rectangle 2">
            <a:hlinkClick r:id="rId20" action="ppaction://hlinksldjump"/>
          </p:cNvPr>
          <p:cNvSpPr/>
          <p:nvPr>
            <p:custDataLst>
              <p:tags r:id="rId10"/>
            </p:custDataLst>
          </p:nvPr>
        </p:nvSpPr>
        <p:spPr>
          <a:xfrm>
            <a:off x="5166432" y="2443299"/>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Use Cases Exercises (Reminder)</a:t>
            </a:r>
          </a:p>
        </p:txBody>
      </p:sp>
      <p:sp>
        <p:nvSpPr>
          <p:cNvPr id="2" name="Title 1"/>
          <p:cNvSpPr>
            <a:spLocks noGrp="1"/>
          </p:cNvSpPr>
          <p:nvPr>
            <p:ph type="title"/>
            <p:custDataLst>
              <p:tags r:id="rId11"/>
            </p:custDataLst>
          </p:nvPr>
        </p:nvSpPr>
        <p:spPr/>
        <p:txBody>
          <a:bodyPr/>
          <a:lstStyle/>
          <a:p>
            <a:r>
              <a:rPr lang="en-US"/>
              <a:t>Agenda</a:t>
            </a:r>
          </a:p>
        </p:txBody>
      </p:sp>
    </p:spTree>
    <p:custDataLst>
      <p:tags r:id="rId1"/>
    </p:custDataLst>
    <p:extLst>
      <p:ext uri="{BB962C8B-B14F-4D97-AF65-F5344CB8AC3E}">
        <p14:creationId xmlns:p14="http://schemas.microsoft.com/office/powerpoint/2010/main" val="3907666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0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580851" y="590488"/>
            <a:ext cx="10933200" cy="470898"/>
          </a:xfrm>
        </p:spPr>
        <p:txBody>
          <a:bodyPr/>
          <a:lstStyle/>
          <a:p>
            <a:r>
              <a:rPr lang="en-US" dirty="0"/>
              <a:t>Built-in functions for OOP</a:t>
            </a:r>
          </a:p>
        </p:txBody>
      </p:sp>
      <p:sp>
        <p:nvSpPr>
          <p:cNvPr id="3" name="Rectangle 2"/>
          <p:cNvSpPr/>
          <p:nvPr/>
        </p:nvSpPr>
        <p:spPr>
          <a:xfrm>
            <a:off x="609600" y="2765228"/>
            <a:ext cx="3743325" cy="1600438"/>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fr-FR" sz="1400" b="1" dirty="0">
                <a:solidFill>
                  <a:srgbClr val="006699"/>
                </a:solidFill>
                <a:latin typeface="Consolas" panose="020B0609020204030204" pitchFamily="49" charset="0"/>
              </a:rPr>
              <a:t>class</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Employe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default_age</a:t>
            </a:r>
            <a:r>
              <a:rPr lang="fr-FR" sz="1400" dirty="0">
                <a:solidFill>
                  <a:srgbClr val="000000"/>
                </a:solidFill>
                <a:latin typeface="Consolas" panose="020B0609020204030204" pitchFamily="49" charset="0"/>
              </a:rPr>
              <a:t> = 25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b="1" dirty="0" err="1">
                <a:solidFill>
                  <a:srgbClr val="006699"/>
                </a:solidFill>
                <a:latin typeface="Consolas" panose="020B0609020204030204" pitchFamily="49" charset="0"/>
              </a:rPr>
              <a:t>def</a:t>
            </a:r>
            <a:r>
              <a:rPr lang="fr-FR" sz="1400" dirty="0">
                <a:solidFill>
                  <a:srgbClr val="000000"/>
                </a:solidFill>
                <a:latin typeface="Consolas" panose="020B0609020204030204" pitchFamily="49" charset="0"/>
              </a:rPr>
              <a:t> __</a:t>
            </a:r>
            <a:r>
              <a:rPr lang="fr-FR" sz="1400" dirty="0" err="1">
                <a:solidFill>
                  <a:srgbClr val="000000"/>
                </a:solidFill>
                <a:latin typeface="Consolas" panose="020B0609020204030204" pitchFamily="49" charset="0"/>
              </a:rPr>
              <a:t>init</a:t>
            </a:r>
            <a:r>
              <a:rPr lang="fr-FR" sz="1400" dirty="0">
                <a:solidFill>
                  <a:srgbClr val="000000"/>
                </a:solidFill>
                <a:latin typeface="Consolas" panose="020B0609020204030204" pitchFamily="49" charset="0"/>
              </a:rPr>
              <a:t>__(</a:t>
            </a:r>
            <a:r>
              <a:rPr lang="fr-FR" sz="1400" dirty="0" err="1">
                <a:solidFill>
                  <a:srgbClr val="000000"/>
                </a:solidFill>
                <a:latin typeface="Consolas" panose="020B0609020204030204" pitchFamily="49" charset="0"/>
              </a:rPr>
              <a:t>self,ag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self.emp_comp</a:t>
            </a:r>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gamma'</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self.emp_age</a:t>
            </a:r>
            <a:r>
              <a:rPr lang="fr-FR" sz="1400" dirty="0">
                <a:solidFill>
                  <a:srgbClr val="000000"/>
                </a:solidFill>
                <a:latin typeface="Consolas" panose="020B0609020204030204" pitchFamily="49" charset="0"/>
              </a:rPr>
              <a:t> = </a:t>
            </a:r>
            <a:r>
              <a:rPr lang="fr-FR" sz="1400" dirty="0" err="1">
                <a:solidFill>
                  <a:srgbClr val="000000"/>
                </a:solidFill>
                <a:latin typeface="Consolas" panose="020B0609020204030204" pitchFamily="49" charset="0"/>
              </a:rPr>
              <a:t>ag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gt;&gt;&gt; </a:t>
            </a:r>
            <a:r>
              <a:rPr lang="fr-FR" sz="1400" dirty="0" err="1">
                <a:solidFill>
                  <a:srgbClr val="000000"/>
                </a:solidFill>
                <a:latin typeface="Consolas" panose="020B0609020204030204" pitchFamily="49" charset="0"/>
              </a:rPr>
              <a:t>emp</a:t>
            </a:r>
            <a:r>
              <a:rPr lang="fr-FR" sz="1400" dirty="0">
                <a:solidFill>
                  <a:srgbClr val="000000"/>
                </a:solidFill>
                <a:latin typeface="Consolas" panose="020B0609020204030204" pitchFamily="49" charset="0"/>
              </a:rPr>
              <a:t> = </a:t>
            </a:r>
            <a:r>
              <a:rPr lang="fr-FR" sz="1400" dirty="0" err="1">
                <a:solidFill>
                  <a:srgbClr val="000000"/>
                </a:solidFill>
                <a:latin typeface="Consolas" panose="020B0609020204030204" pitchFamily="49" charset="0"/>
              </a:rPr>
              <a:t>Employee</a:t>
            </a:r>
            <a:r>
              <a:rPr lang="fr-FR" sz="1400" dirty="0">
                <a:solidFill>
                  <a:srgbClr val="000000"/>
                </a:solidFill>
                <a:latin typeface="Consolas" panose="020B0609020204030204" pitchFamily="49" charset="0"/>
              </a:rPr>
              <a:t>(27)  </a:t>
            </a:r>
            <a:endParaRPr lang="fr-FR" sz="1400" b="0" i="0" dirty="0">
              <a:solidFill>
                <a:srgbClr val="5C5C5C"/>
              </a:solidFill>
              <a:effectLst/>
              <a:latin typeface="Consolas" panose="020B0609020204030204" pitchFamily="49" charset="0"/>
            </a:endParaRPr>
          </a:p>
        </p:txBody>
      </p:sp>
      <p:sp>
        <p:nvSpPr>
          <p:cNvPr id="14" name="Rectangle 13"/>
          <p:cNvSpPr/>
          <p:nvPr/>
        </p:nvSpPr>
        <p:spPr>
          <a:xfrm>
            <a:off x="6122115" y="2342085"/>
            <a:ext cx="4728384" cy="738664"/>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fr-FR" sz="1400" dirty="0">
                <a:solidFill>
                  <a:srgbClr val="000000"/>
                </a:solidFill>
                <a:latin typeface="Consolas" panose="020B0609020204030204" pitchFamily="49" charset="0"/>
              </a:rPr>
              <a:t>&gt;&gt;&gt; vars(</a:t>
            </a:r>
            <a:r>
              <a:rPr lang="fr-FR" sz="1400" dirty="0" err="1">
                <a:solidFill>
                  <a:srgbClr val="000000"/>
                </a:solidFill>
                <a:latin typeface="Consolas" panose="020B0609020204030204" pitchFamily="49" charset="0"/>
              </a:rPr>
              <a:t>emp</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a:t>
            </a:r>
            <a:r>
              <a:rPr lang="fr-FR" sz="1400" dirty="0">
                <a:solidFill>
                  <a:srgbClr val="0000FF"/>
                </a:solidFill>
                <a:latin typeface="Consolas" panose="020B0609020204030204" pitchFamily="49" charset="0"/>
              </a:rPr>
              <a:t>'</a:t>
            </a:r>
            <a:r>
              <a:rPr lang="fr-FR" sz="1400" dirty="0" err="1">
                <a:solidFill>
                  <a:srgbClr val="0000FF"/>
                </a:solidFill>
                <a:latin typeface="Consolas" panose="020B0609020204030204" pitchFamily="49" charset="0"/>
              </a:rPr>
              <a:t>emp_comp</a:t>
            </a:r>
            <a:r>
              <a:rPr lang="fr-FR" sz="1400" dirty="0">
                <a:solidFill>
                  <a:srgbClr val="0000FF"/>
                </a:solidFill>
                <a:latin typeface="Consolas" panose="020B0609020204030204" pitchFamily="49" charset="0"/>
              </a:rPr>
              <a:t>'</a:t>
            </a:r>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gamma'</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a:t>
            </a:r>
            <a:r>
              <a:rPr lang="fr-FR" sz="1400" dirty="0" err="1">
                <a:solidFill>
                  <a:srgbClr val="0000FF"/>
                </a:solidFill>
                <a:latin typeface="Consolas" panose="020B0609020204030204" pitchFamily="49" charset="0"/>
              </a:rPr>
              <a:t>emp_age</a:t>
            </a:r>
            <a:r>
              <a:rPr lang="fr-FR" sz="1400" dirty="0">
                <a:solidFill>
                  <a:srgbClr val="0000FF"/>
                </a:solidFill>
                <a:latin typeface="Consolas" panose="020B0609020204030204" pitchFamily="49" charset="0"/>
              </a:rPr>
              <a:t>'</a:t>
            </a:r>
            <a:r>
              <a:rPr lang="fr-FR" sz="1400" dirty="0">
                <a:solidFill>
                  <a:srgbClr val="000000"/>
                </a:solidFill>
                <a:latin typeface="Consolas" panose="020B0609020204030204" pitchFamily="49" charset="0"/>
              </a:rPr>
              <a:t>: 30}  </a:t>
            </a:r>
            <a:endParaRPr lang="fr-FR" sz="1400" dirty="0">
              <a:solidFill>
                <a:srgbClr val="5C5C5C"/>
              </a:solidFill>
              <a:latin typeface="Consolas" panose="020B0609020204030204" pitchFamily="49" charset="0"/>
            </a:endParaRPr>
          </a:p>
        </p:txBody>
      </p:sp>
      <p:sp>
        <p:nvSpPr>
          <p:cNvPr id="15" name="Rectangle 14"/>
          <p:cNvSpPr/>
          <p:nvPr/>
        </p:nvSpPr>
        <p:spPr>
          <a:xfrm>
            <a:off x="6122115" y="3728650"/>
            <a:ext cx="4728384" cy="523220"/>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fr-FR" sz="1400" dirty="0">
                <a:solidFill>
                  <a:srgbClr val="000000"/>
                </a:solidFill>
                <a:latin typeface="Consolas" panose="020B0609020204030204" pitchFamily="49" charset="0"/>
              </a:rPr>
              <a:t>&gt;&gt;&gt; </a:t>
            </a:r>
            <a:r>
              <a:rPr lang="fr-FR" sz="1400" dirty="0" err="1">
                <a:solidFill>
                  <a:srgbClr val="000000"/>
                </a:solidFill>
                <a:latin typeface="Consolas" panose="020B0609020204030204" pitchFamily="49" charset="0"/>
              </a:rPr>
              <a:t>dir</a:t>
            </a:r>
            <a:r>
              <a:rPr lang="fr-FR" sz="1400" dirty="0">
                <a:solidFill>
                  <a:srgbClr val="000000"/>
                </a:solidFill>
                <a:latin typeface="Consolas" panose="020B0609020204030204" pitchFamily="49" charset="0"/>
              </a:rPr>
              <a:t>(</a:t>
            </a:r>
            <a:r>
              <a:rPr lang="fr-FR" sz="1400" dirty="0" err="1">
                <a:solidFill>
                  <a:srgbClr val="000000"/>
                </a:solidFill>
                <a:latin typeface="Consolas" panose="020B0609020204030204" pitchFamily="49" charset="0"/>
              </a:rPr>
              <a:t>emp</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a:t>
            </a:r>
            <a:r>
              <a:rPr lang="fr-FR" sz="1400" dirty="0">
                <a:solidFill>
                  <a:srgbClr val="0000FF"/>
                </a:solidFill>
                <a:latin typeface="Consolas" panose="020B0609020204030204" pitchFamily="49" charset="0"/>
              </a:rPr>
              <a:t>'__class__'</a:t>
            </a:r>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__</a:t>
            </a:r>
            <a:r>
              <a:rPr lang="fr-FR" sz="1400" dirty="0" err="1">
                <a:solidFill>
                  <a:srgbClr val="0000FF"/>
                </a:solidFill>
                <a:latin typeface="Consolas" panose="020B0609020204030204" pitchFamily="49" charset="0"/>
              </a:rPr>
              <a:t>delattr</a:t>
            </a:r>
            <a:r>
              <a:rPr lang="fr-FR" sz="1400" dirty="0">
                <a:solidFill>
                  <a:srgbClr val="0000FF"/>
                </a:solidFill>
                <a:latin typeface="Consolas" panose="020B0609020204030204" pitchFamily="49" charset="0"/>
              </a:rPr>
              <a:t>__'</a:t>
            </a:r>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__</a:t>
            </a:r>
            <a:r>
              <a:rPr lang="fr-FR" sz="1400" dirty="0" err="1">
                <a:solidFill>
                  <a:srgbClr val="0000FF"/>
                </a:solidFill>
                <a:latin typeface="Consolas" panose="020B0609020204030204" pitchFamily="49" charset="0"/>
              </a:rPr>
              <a:t>dict</a:t>
            </a:r>
            <a:r>
              <a:rPr lang="fr-FR" sz="1400" dirty="0">
                <a:solidFill>
                  <a:srgbClr val="0000FF"/>
                </a:solidFill>
                <a:latin typeface="Consolas" panose="020B0609020204030204" pitchFamily="49" charset="0"/>
              </a:rPr>
              <a:t>__'</a:t>
            </a:r>
            <a:r>
              <a:rPr lang="fr-FR" sz="1400" dirty="0">
                <a:solidFill>
                  <a:srgbClr val="000000"/>
                </a:solidFill>
                <a:latin typeface="Consolas" panose="020B0609020204030204" pitchFamily="49" charset="0"/>
              </a:rPr>
              <a:t>, …] </a:t>
            </a:r>
            <a:endParaRPr lang="fr-FR" sz="1400" b="0" i="0" dirty="0">
              <a:solidFill>
                <a:srgbClr val="5C5C5C"/>
              </a:solidFill>
              <a:effectLst/>
              <a:latin typeface="Consolas" panose="020B0609020204030204" pitchFamily="49" charset="0"/>
            </a:endParaRPr>
          </a:p>
        </p:txBody>
      </p:sp>
      <p:sp>
        <p:nvSpPr>
          <p:cNvPr id="17" name="TextBox 16"/>
          <p:cNvSpPr txBox="1"/>
          <p:nvPr/>
        </p:nvSpPr>
        <p:spPr>
          <a:xfrm>
            <a:off x="6047451" y="1914906"/>
            <a:ext cx="5473608" cy="2633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600" dirty="0">
                <a:solidFill>
                  <a:srgbClr val="29BA74"/>
                </a:solidFill>
              </a:rPr>
              <a:t>vars(</a:t>
            </a:r>
            <a:r>
              <a:rPr lang="fr-FR" sz="1600" dirty="0" err="1">
                <a:solidFill>
                  <a:srgbClr val="29BA74"/>
                </a:solidFill>
              </a:rPr>
              <a:t>object</a:t>
            </a:r>
            <a:r>
              <a:rPr lang="fr-FR" sz="1600" dirty="0">
                <a:solidFill>
                  <a:srgbClr val="29BA74"/>
                </a:solidFill>
              </a:rPr>
              <a:t>) :  </a:t>
            </a:r>
            <a:r>
              <a:rPr lang="en-US" sz="1600" dirty="0">
                <a:solidFill>
                  <a:srgbClr val="29BA74"/>
                </a:solidFill>
              </a:rPr>
              <a:t>returns the __</a:t>
            </a:r>
            <a:r>
              <a:rPr lang="en-US" sz="1600" dirty="0" err="1">
                <a:solidFill>
                  <a:srgbClr val="29BA74"/>
                </a:solidFill>
              </a:rPr>
              <a:t>dict</a:t>
            </a:r>
            <a:r>
              <a:rPr lang="en-US" sz="1600" dirty="0">
                <a:solidFill>
                  <a:srgbClr val="29BA74"/>
                </a:solidFill>
              </a:rPr>
              <a:t>__ attribute of the given instance</a:t>
            </a:r>
            <a:r>
              <a:rPr lang="fr-FR" sz="1600" dirty="0">
                <a:solidFill>
                  <a:srgbClr val="29BA74"/>
                </a:solidFill>
              </a:rPr>
              <a:t> </a:t>
            </a:r>
            <a:endParaRPr lang="en-US" sz="1600" dirty="0" err="1">
              <a:solidFill>
                <a:srgbClr val="29BA74"/>
              </a:solidFill>
            </a:endParaRPr>
          </a:p>
        </p:txBody>
      </p:sp>
      <p:sp>
        <p:nvSpPr>
          <p:cNvPr id="19" name="TextBox 18"/>
          <p:cNvSpPr txBox="1"/>
          <p:nvPr/>
        </p:nvSpPr>
        <p:spPr>
          <a:xfrm>
            <a:off x="6047451" y="3414436"/>
            <a:ext cx="5766216" cy="3020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err="1">
                <a:solidFill>
                  <a:srgbClr val="29BA74"/>
                </a:solidFill>
              </a:rPr>
              <a:t>dir</a:t>
            </a:r>
            <a:r>
              <a:rPr lang="en-US" sz="1600" dirty="0">
                <a:solidFill>
                  <a:srgbClr val="29BA74"/>
                </a:solidFill>
              </a:rPr>
              <a:t>(object) : return a list of valid attributes of the instance.</a:t>
            </a:r>
          </a:p>
        </p:txBody>
      </p:sp>
      <p:sp>
        <p:nvSpPr>
          <p:cNvPr id="22" name="Rectangle 21"/>
          <p:cNvSpPr/>
          <p:nvPr/>
        </p:nvSpPr>
        <p:spPr>
          <a:xfrm>
            <a:off x="6122115" y="5018635"/>
            <a:ext cx="4728384" cy="523220"/>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fr-FR" sz="1400" dirty="0">
                <a:solidFill>
                  <a:srgbClr val="000000"/>
                </a:solidFill>
                <a:latin typeface="Consolas" panose="020B0609020204030204" pitchFamily="49" charset="0"/>
              </a:rPr>
              <a:t>&gt;&gt;&gt; </a:t>
            </a:r>
            <a:r>
              <a:rPr lang="fr-FR" sz="1400" dirty="0" err="1">
                <a:solidFill>
                  <a:srgbClr val="000000"/>
                </a:solidFill>
                <a:latin typeface="Consolas" panose="020B0609020204030204" pitchFamily="49" charset="0"/>
              </a:rPr>
              <a:t>isinstance</a:t>
            </a:r>
            <a:r>
              <a:rPr lang="fr-FR" sz="1400" dirty="0">
                <a:solidFill>
                  <a:srgbClr val="000000"/>
                </a:solidFill>
                <a:latin typeface="Consolas" panose="020B0609020204030204" pitchFamily="49" charset="0"/>
              </a:rPr>
              <a:t>(</a:t>
            </a:r>
            <a:r>
              <a:rPr lang="fr-FR" sz="1400" dirty="0" err="1">
                <a:solidFill>
                  <a:srgbClr val="000000"/>
                </a:solidFill>
                <a:latin typeface="Consolas" panose="020B0609020204030204" pitchFamily="49" charset="0"/>
              </a:rPr>
              <a:t>emp</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Employe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err="1">
                <a:solidFill>
                  <a:srgbClr val="000000"/>
                </a:solidFill>
                <a:latin typeface="Consolas" panose="020B0609020204030204" pitchFamily="49" charset="0"/>
              </a:rPr>
              <a:t>Tru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p:txBody>
      </p:sp>
      <p:sp>
        <p:nvSpPr>
          <p:cNvPr id="23" name="TextBox 22"/>
          <p:cNvSpPr txBox="1"/>
          <p:nvPr/>
        </p:nvSpPr>
        <p:spPr>
          <a:xfrm>
            <a:off x="6047451" y="4628032"/>
            <a:ext cx="5473608" cy="2633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err="1">
                <a:solidFill>
                  <a:srgbClr val="29BA74"/>
                </a:solidFill>
              </a:rPr>
              <a:t>Isinstance</a:t>
            </a:r>
            <a:r>
              <a:rPr lang="en-US" sz="1600" dirty="0">
                <a:solidFill>
                  <a:srgbClr val="29BA74"/>
                </a:solidFill>
              </a:rPr>
              <a:t>(instance, Object) : test if it is an instance of the object</a:t>
            </a:r>
          </a:p>
        </p:txBody>
      </p:sp>
      <p:grpSp>
        <p:nvGrpSpPr>
          <p:cNvPr id="20" name="Group 19"/>
          <p:cNvGrpSpPr/>
          <p:nvPr/>
        </p:nvGrpSpPr>
        <p:grpSpPr>
          <a:xfrm>
            <a:off x="5084434" y="1676917"/>
            <a:ext cx="306171" cy="4079081"/>
            <a:chOff x="5942914" y="2081213"/>
            <a:chExt cx="306171" cy="4079081"/>
          </a:xfrm>
        </p:grpSpPr>
        <p:cxnSp>
          <p:nvCxnSpPr>
            <p:cNvPr id="21" name="Straight Connector 20"/>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5942914" y="3967299"/>
              <a:ext cx="306171" cy="306910"/>
              <a:chOff x="5937564" y="3833745"/>
              <a:chExt cx="306171" cy="306910"/>
            </a:xfrm>
          </p:grpSpPr>
          <p:sp>
            <p:nvSpPr>
              <p:cNvPr id="25"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6"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2"/>
    </p:custDataLst>
    <p:extLst>
      <p:ext uri="{BB962C8B-B14F-4D97-AF65-F5344CB8AC3E}">
        <p14:creationId xmlns:p14="http://schemas.microsoft.com/office/powerpoint/2010/main" val="985202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25"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11343" y="597786"/>
            <a:ext cx="10933200" cy="470898"/>
          </a:xfrm>
        </p:spPr>
        <p:txBody>
          <a:bodyPr/>
          <a:lstStyle/>
          <a:p>
            <a:r>
              <a:rPr lang="en-US" dirty="0"/>
              <a:t>Built-in functions for OOP</a:t>
            </a:r>
          </a:p>
        </p:txBody>
      </p:sp>
      <p:sp>
        <p:nvSpPr>
          <p:cNvPr id="4" name="Rectangle 3"/>
          <p:cNvSpPr/>
          <p:nvPr/>
        </p:nvSpPr>
        <p:spPr>
          <a:xfrm>
            <a:off x="5797296" y="1871931"/>
            <a:ext cx="6096000" cy="523220"/>
          </a:xfrm>
          <a:prstGeom prst="rect">
            <a:avLst/>
          </a:prstGeom>
          <a:solidFill>
            <a:srgbClr val="FFFFFF"/>
          </a:solidFill>
          <a:ln w="9525" cap="flat" cmpd="sng" algn="ctr">
            <a:solidFill>
              <a:srgbClr val="9A9A9A"/>
            </a:solidFill>
            <a:prstDash val="solid"/>
            <a:round/>
            <a:headEnd type="none" w="med" len="med"/>
            <a:tailEnd type="none" w="med" len="med"/>
          </a:ln>
        </p:spPr>
        <p:txBody>
          <a:bodyPr>
            <a:spAutoFit/>
          </a:bodyPr>
          <a:lstStyle/>
          <a:p>
            <a:r>
              <a:rPr lang="fr-FR" sz="1400" dirty="0">
                <a:solidFill>
                  <a:srgbClr val="000000"/>
                </a:solidFill>
                <a:latin typeface="Consolas" panose="020B0609020204030204" pitchFamily="49" charset="0"/>
              </a:rPr>
              <a:t>&gt;&gt;&gt; </a:t>
            </a:r>
            <a:r>
              <a:rPr lang="fr-FR" sz="1400" dirty="0" err="1">
                <a:solidFill>
                  <a:srgbClr val="000000"/>
                </a:solidFill>
                <a:latin typeface="Consolas" panose="020B0609020204030204" pitchFamily="49" charset="0"/>
              </a:rPr>
              <a:t>getattr</a:t>
            </a:r>
            <a:r>
              <a:rPr lang="fr-FR" sz="1400" dirty="0">
                <a:solidFill>
                  <a:srgbClr val="000000"/>
                </a:solidFill>
                <a:latin typeface="Consolas" panose="020B0609020204030204" pitchFamily="49" charset="0"/>
              </a:rPr>
              <a:t>(</a:t>
            </a:r>
            <a:r>
              <a:rPr lang="fr-FR" sz="1400" dirty="0" err="1">
                <a:solidFill>
                  <a:srgbClr val="000000"/>
                </a:solidFill>
                <a:latin typeface="Consolas" panose="020B0609020204030204" pitchFamily="49" charset="0"/>
              </a:rPr>
              <a:t>emp</a:t>
            </a:r>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a:t>
            </a:r>
            <a:r>
              <a:rPr lang="fr-FR" sz="1400" dirty="0" err="1">
                <a:solidFill>
                  <a:srgbClr val="0000FF"/>
                </a:solidFill>
                <a:latin typeface="Consolas" panose="020B0609020204030204" pitchFamily="49" charset="0"/>
              </a:rPr>
              <a:t>emp_age</a:t>
            </a:r>
            <a:r>
              <a:rPr lang="fr-FR" sz="1400" dirty="0">
                <a:solidFill>
                  <a:srgbClr val="0000FF"/>
                </a:solidFill>
                <a:latin typeface="Consolas" panose="020B0609020204030204" pitchFamily="49" charset="0"/>
              </a:rPr>
              <a:t>'</a:t>
            </a:r>
            <a:r>
              <a:rPr lang="fr-FR" sz="1400" dirty="0">
                <a:solidFill>
                  <a:srgbClr val="000000"/>
                </a:solidFill>
                <a:latin typeface="Consolas" panose="020B0609020204030204" pitchFamily="49" charset="0"/>
              </a:rPr>
              <a:t>)</a:t>
            </a:r>
          </a:p>
          <a:p>
            <a:r>
              <a:rPr lang="fr-FR" sz="1400" dirty="0">
                <a:solidFill>
                  <a:srgbClr val="575757"/>
                </a:solidFill>
                <a:latin typeface="Consolas" panose="020B0609020204030204" pitchFamily="49" charset="0"/>
              </a:rPr>
              <a:t>27</a:t>
            </a:r>
            <a:endParaRPr lang="fr-FR" sz="1400" b="0" i="0" dirty="0">
              <a:solidFill>
                <a:srgbClr val="575757"/>
              </a:solidFill>
              <a:effectLst/>
              <a:latin typeface="Consolas" panose="020B0609020204030204" pitchFamily="49" charset="0"/>
            </a:endParaRPr>
          </a:p>
        </p:txBody>
      </p:sp>
      <p:sp>
        <p:nvSpPr>
          <p:cNvPr id="5" name="Rectangle 4"/>
          <p:cNvSpPr/>
          <p:nvPr/>
        </p:nvSpPr>
        <p:spPr>
          <a:xfrm>
            <a:off x="5797296" y="2962911"/>
            <a:ext cx="6096000" cy="307777"/>
          </a:xfrm>
          <a:prstGeom prst="rect">
            <a:avLst/>
          </a:prstGeom>
          <a:solidFill>
            <a:srgbClr val="FFFFFF"/>
          </a:solidFill>
          <a:ln w="9525" cap="flat" cmpd="sng" algn="ctr">
            <a:solidFill>
              <a:srgbClr val="9A9A9A"/>
            </a:solidFill>
            <a:prstDash val="solid"/>
            <a:round/>
            <a:headEnd type="none" w="med" len="med"/>
            <a:tailEnd type="none" w="med" len="med"/>
          </a:ln>
        </p:spPr>
        <p:txBody>
          <a:bodyPr>
            <a:spAutoFit/>
          </a:bodyPr>
          <a:lstStyle/>
          <a:p>
            <a:r>
              <a:rPr lang="fr-FR" sz="1400" dirty="0" err="1">
                <a:solidFill>
                  <a:srgbClr val="000000"/>
                </a:solidFill>
                <a:latin typeface="Consolas" panose="020B0609020204030204" pitchFamily="49" charset="0"/>
              </a:rPr>
              <a:t>setattr</a:t>
            </a:r>
            <a:r>
              <a:rPr lang="fr-FR" sz="1400" dirty="0">
                <a:solidFill>
                  <a:srgbClr val="000000"/>
                </a:solidFill>
                <a:latin typeface="Consolas" panose="020B0609020204030204" pitchFamily="49" charset="0"/>
              </a:rPr>
              <a:t>(emp,</a:t>
            </a:r>
            <a:r>
              <a:rPr lang="fr-FR" sz="1400" dirty="0">
                <a:solidFill>
                  <a:srgbClr val="0000FF"/>
                </a:solidFill>
                <a:latin typeface="Consolas" panose="020B0609020204030204" pitchFamily="49" charset="0"/>
              </a:rPr>
              <a:t>'get_1_year_more'</a:t>
            </a:r>
            <a:r>
              <a:rPr lang="fr-FR" sz="1400" dirty="0">
                <a:solidFill>
                  <a:srgbClr val="000000"/>
                </a:solidFill>
                <a:latin typeface="Consolas" panose="020B0609020204030204" pitchFamily="49" charset="0"/>
              </a:rPr>
              <a:t>, lambda _: _+ </a:t>
            </a:r>
            <a:r>
              <a:rPr lang="fr-FR" sz="1400" dirty="0" err="1">
                <a:solidFill>
                  <a:srgbClr val="000000"/>
                </a:solidFill>
                <a:latin typeface="Consolas" panose="020B0609020204030204" pitchFamily="49" charset="0"/>
              </a:rPr>
              <a:t>emp.emp_age</a:t>
            </a:r>
            <a:r>
              <a:rPr lang="fr-FR" sz="1400" dirty="0">
                <a:solidFill>
                  <a:srgbClr val="000000"/>
                </a:solidFill>
                <a:latin typeface="Consolas" panose="020B0609020204030204" pitchFamily="49" charset="0"/>
              </a:rPr>
              <a:t>)  </a:t>
            </a:r>
            <a:endParaRPr lang="fr-FR" sz="1400" b="0" i="0" dirty="0">
              <a:solidFill>
                <a:srgbClr val="5C5C5C"/>
              </a:solidFill>
              <a:effectLst/>
              <a:latin typeface="Consolas" panose="020B0609020204030204" pitchFamily="49" charset="0"/>
            </a:endParaRPr>
          </a:p>
        </p:txBody>
      </p:sp>
      <p:sp>
        <p:nvSpPr>
          <p:cNvPr id="6" name="Rectangle 5"/>
          <p:cNvSpPr/>
          <p:nvPr/>
        </p:nvSpPr>
        <p:spPr>
          <a:xfrm>
            <a:off x="5797296" y="3838448"/>
            <a:ext cx="6096000" cy="523220"/>
          </a:xfrm>
          <a:prstGeom prst="rect">
            <a:avLst/>
          </a:prstGeom>
          <a:solidFill>
            <a:srgbClr val="FFFFFF"/>
          </a:solidFill>
          <a:ln w="9525" cap="flat" cmpd="sng" algn="ctr">
            <a:solidFill>
              <a:srgbClr val="9A9A9A"/>
            </a:solidFill>
            <a:prstDash val="solid"/>
            <a:round/>
            <a:headEnd type="none" w="med" len="med"/>
            <a:tailEnd type="none" w="med" len="med"/>
          </a:ln>
        </p:spPr>
        <p:txBody>
          <a:bodyPr>
            <a:spAutoFit/>
          </a:bodyPr>
          <a:lstStyle/>
          <a:p>
            <a:r>
              <a:rPr lang="fr-FR" sz="1400" dirty="0">
                <a:solidFill>
                  <a:srgbClr val="000000"/>
                </a:solidFill>
                <a:latin typeface="Consolas" panose="020B0609020204030204" pitchFamily="49" charset="0"/>
              </a:rPr>
              <a:t>&gt;&gt;&gt; </a:t>
            </a:r>
            <a:r>
              <a:rPr lang="fr-FR" sz="1400" dirty="0" err="1">
                <a:solidFill>
                  <a:srgbClr val="000000"/>
                </a:solidFill>
                <a:latin typeface="Consolas" panose="020B0609020204030204" pitchFamily="49" charset="0"/>
              </a:rPr>
              <a:t>hasattr</a:t>
            </a:r>
            <a:r>
              <a:rPr lang="fr-FR" sz="1400" dirty="0">
                <a:solidFill>
                  <a:srgbClr val="000000"/>
                </a:solidFill>
                <a:latin typeface="Consolas" panose="020B0609020204030204" pitchFamily="49" charset="0"/>
              </a:rPr>
              <a:t>(</a:t>
            </a:r>
            <a:r>
              <a:rPr lang="fr-FR" sz="1400" dirty="0" err="1">
                <a:solidFill>
                  <a:srgbClr val="000000"/>
                </a:solidFill>
                <a:latin typeface="Consolas" panose="020B0609020204030204" pitchFamily="49" charset="0"/>
              </a:rPr>
              <a:t>emp</a:t>
            </a:r>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get_1_year_mor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err="1">
                <a:solidFill>
                  <a:srgbClr val="000000"/>
                </a:solidFill>
                <a:latin typeface="Consolas" panose="020B0609020204030204" pitchFamily="49" charset="0"/>
              </a:rPr>
              <a:t>True</a:t>
            </a:r>
            <a:r>
              <a:rPr lang="fr-FR" sz="1400" dirty="0">
                <a:solidFill>
                  <a:srgbClr val="000000"/>
                </a:solidFill>
                <a:latin typeface="Consolas" panose="020B0609020204030204" pitchFamily="49" charset="0"/>
              </a:rPr>
              <a:t>  </a:t>
            </a:r>
            <a:endParaRPr lang="fr-FR" sz="1400" b="0" i="0" dirty="0">
              <a:solidFill>
                <a:srgbClr val="5C5C5C"/>
              </a:solidFill>
              <a:effectLst/>
              <a:latin typeface="Consolas" panose="020B0609020204030204" pitchFamily="49" charset="0"/>
            </a:endParaRPr>
          </a:p>
        </p:txBody>
      </p:sp>
      <p:sp>
        <p:nvSpPr>
          <p:cNvPr id="7" name="Rectangle 6"/>
          <p:cNvSpPr/>
          <p:nvPr/>
        </p:nvSpPr>
        <p:spPr>
          <a:xfrm>
            <a:off x="5797296" y="4929426"/>
            <a:ext cx="6096000" cy="738664"/>
          </a:xfrm>
          <a:prstGeom prst="rect">
            <a:avLst/>
          </a:prstGeom>
          <a:solidFill>
            <a:srgbClr val="FFFFFF"/>
          </a:solidFill>
          <a:ln w="9525" cap="flat" cmpd="sng" algn="ctr">
            <a:solidFill>
              <a:srgbClr val="9A9A9A"/>
            </a:solidFill>
            <a:prstDash val="solid"/>
            <a:round/>
            <a:headEnd type="none" w="med" len="med"/>
            <a:tailEnd type="none" w="med" len="med"/>
          </a:ln>
        </p:spPr>
        <p:txBody>
          <a:bodyPr>
            <a:spAutoFit/>
          </a:bodyPr>
          <a:lstStyle/>
          <a:p>
            <a:r>
              <a:rPr lang="fr-FR" sz="1400" dirty="0">
                <a:solidFill>
                  <a:srgbClr val="000000"/>
                </a:solidFill>
                <a:latin typeface="Consolas" panose="020B0609020204030204" pitchFamily="49" charset="0"/>
              </a:rPr>
              <a:t>&gt;&gt;&gt; </a:t>
            </a:r>
            <a:r>
              <a:rPr lang="fr-FR" sz="1400" dirty="0" err="1">
                <a:solidFill>
                  <a:srgbClr val="000000"/>
                </a:solidFill>
                <a:latin typeface="Consolas" panose="020B0609020204030204" pitchFamily="49" charset="0"/>
              </a:rPr>
              <a:t>delattr</a:t>
            </a:r>
            <a:r>
              <a:rPr lang="fr-FR" sz="1400" dirty="0">
                <a:solidFill>
                  <a:srgbClr val="000000"/>
                </a:solidFill>
                <a:latin typeface="Consolas" panose="020B0609020204030204" pitchFamily="49" charset="0"/>
              </a:rPr>
              <a:t>(</a:t>
            </a:r>
            <a:r>
              <a:rPr lang="fr-FR" sz="1400" dirty="0" err="1">
                <a:solidFill>
                  <a:srgbClr val="000000"/>
                </a:solidFill>
                <a:latin typeface="Consolas" panose="020B0609020204030204" pitchFamily="49" charset="0"/>
              </a:rPr>
              <a:t>emp</a:t>
            </a:r>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get_1_year_mor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gt;&gt;&gt; </a:t>
            </a:r>
            <a:r>
              <a:rPr lang="fr-FR" sz="1400" dirty="0" err="1">
                <a:solidFill>
                  <a:srgbClr val="000000"/>
                </a:solidFill>
                <a:latin typeface="Consolas" panose="020B0609020204030204" pitchFamily="49" charset="0"/>
              </a:rPr>
              <a:t>hasattr</a:t>
            </a:r>
            <a:r>
              <a:rPr lang="fr-FR" sz="1400" dirty="0">
                <a:solidFill>
                  <a:srgbClr val="000000"/>
                </a:solidFill>
                <a:latin typeface="Consolas" panose="020B0609020204030204" pitchFamily="49" charset="0"/>
              </a:rPr>
              <a:t>(</a:t>
            </a:r>
            <a:r>
              <a:rPr lang="fr-FR" sz="1400" dirty="0" err="1">
                <a:solidFill>
                  <a:srgbClr val="000000"/>
                </a:solidFill>
                <a:latin typeface="Consolas" panose="020B0609020204030204" pitchFamily="49" charset="0"/>
              </a:rPr>
              <a:t>emp</a:t>
            </a:r>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get_1_year_mor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False  </a:t>
            </a:r>
            <a:endParaRPr lang="fr-FR" sz="1400" b="0" i="0" dirty="0">
              <a:solidFill>
                <a:srgbClr val="5C5C5C"/>
              </a:solidFill>
              <a:effectLst/>
              <a:latin typeface="Consolas" panose="020B0609020204030204" pitchFamily="49" charset="0"/>
            </a:endParaRPr>
          </a:p>
        </p:txBody>
      </p:sp>
      <p:sp>
        <p:nvSpPr>
          <p:cNvPr id="8" name="TextBox 7"/>
          <p:cNvSpPr txBox="1"/>
          <p:nvPr/>
        </p:nvSpPr>
        <p:spPr>
          <a:xfrm>
            <a:off x="5748528" y="1473258"/>
            <a:ext cx="6644640" cy="3515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FR" sz="1600" dirty="0" err="1">
                <a:solidFill>
                  <a:srgbClr val="29BA74"/>
                </a:solidFill>
              </a:rPr>
              <a:t>getattr</a:t>
            </a:r>
            <a:r>
              <a:rPr lang="fr-FR" sz="1600" dirty="0">
                <a:solidFill>
                  <a:srgbClr val="29BA74"/>
                </a:solidFill>
              </a:rPr>
              <a:t>(</a:t>
            </a:r>
            <a:r>
              <a:rPr lang="fr-FR" sz="1600" dirty="0" err="1">
                <a:solidFill>
                  <a:srgbClr val="29BA74"/>
                </a:solidFill>
              </a:rPr>
              <a:t>object</a:t>
            </a:r>
            <a:r>
              <a:rPr lang="fr-FR" sz="1600" dirty="0">
                <a:solidFill>
                  <a:srgbClr val="29BA74"/>
                </a:solidFill>
              </a:rPr>
              <a:t>, </a:t>
            </a:r>
            <a:r>
              <a:rPr lang="fr-FR" sz="1600" dirty="0" err="1">
                <a:solidFill>
                  <a:srgbClr val="29BA74"/>
                </a:solidFill>
              </a:rPr>
              <a:t>name</a:t>
            </a:r>
            <a:r>
              <a:rPr lang="fr-FR" sz="1600" dirty="0">
                <a:solidFill>
                  <a:srgbClr val="29BA74"/>
                </a:solidFill>
              </a:rPr>
              <a:t>[, default]) : </a:t>
            </a:r>
            <a:r>
              <a:rPr lang="fr-FR" sz="1600" dirty="0" err="1">
                <a:solidFill>
                  <a:srgbClr val="29BA74"/>
                </a:solidFill>
              </a:rPr>
              <a:t>get</a:t>
            </a:r>
            <a:r>
              <a:rPr lang="fr-FR" sz="1600" dirty="0">
                <a:solidFill>
                  <a:srgbClr val="29BA74"/>
                </a:solidFill>
              </a:rPr>
              <a:t> </a:t>
            </a:r>
            <a:r>
              <a:rPr lang="fr-FR" sz="1600" dirty="0" err="1">
                <a:solidFill>
                  <a:srgbClr val="29BA74"/>
                </a:solidFill>
              </a:rPr>
              <a:t>attribute</a:t>
            </a:r>
            <a:r>
              <a:rPr lang="fr-FR" sz="1600" dirty="0">
                <a:solidFill>
                  <a:srgbClr val="29BA74"/>
                </a:solidFill>
              </a:rPr>
              <a:t> of the </a:t>
            </a:r>
            <a:r>
              <a:rPr lang="fr-FR" sz="1600" dirty="0" err="1">
                <a:solidFill>
                  <a:srgbClr val="29BA74"/>
                </a:solidFill>
              </a:rPr>
              <a:t>object</a:t>
            </a:r>
            <a:r>
              <a:rPr lang="fr-FR" sz="1600" dirty="0">
                <a:solidFill>
                  <a:srgbClr val="29BA74"/>
                </a:solidFill>
              </a:rPr>
              <a:t> </a:t>
            </a:r>
            <a:endParaRPr lang="en-US" sz="1600" dirty="0" err="1">
              <a:solidFill>
                <a:srgbClr val="29BA74"/>
              </a:solidFill>
            </a:endParaRPr>
          </a:p>
        </p:txBody>
      </p:sp>
      <p:sp>
        <p:nvSpPr>
          <p:cNvPr id="9" name="TextBox 8"/>
          <p:cNvSpPr txBox="1"/>
          <p:nvPr/>
        </p:nvSpPr>
        <p:spPr>
          <a:xfrm>
            <a:off x="5748528" y="2552046"/>
            <a:ext cx="6644640" cy="3515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a:solidFill>
                  <a:srgbClr val="29BA74"/>
                </a:solidFill>
              </a:defRPr>
            </a:lvl1pPr>
          </a:lstStyle>
          <a:p>
            <a:r>
              <a:rPr lang="fr-FR" sz="1600" dirty="0" err="1"/>
              <a:t>setattr</a:t>
            </a:r>
            <a:r>
              <a:rPr lang="fr-FR" sz="1600" dirty="0"/>
              <a:t>(</a:t>
            </a:r>
            <a:r>
              <a:rPr lang="fr-FR" sz="1600" dirty="0" err="1"/>
              <a:t>object</a:t>
            </a:r>
            <a:r>
              <a:rPr lang="fr-FR" sz="1600" dirty="0"/>
              <a:t>, </a:t>
            </a:r>
            <a:r>
              <a:rPr lang="fr-FR" sz="1600" dirty="0" err="1"/>
              <a:t>name</a:t>
            </a:r>
            <a:r>
              <a:rPr lang="fr-FR" sz="1600" dirty="0"/>
              <a:t>, value) : set </a:t>
            </a:r>
            <a:r>
              <a:rPr lang="fr-FR" sz="1600" dirty="0" err="1"/>
              <a:t>attribute</a:t>
            </a:r>
            <a:r>
              <a:rPr lang="fr-FR" sz="1600" dirty="0"/>
              <a:t> of the </a:t>
            </a:r>
            <a:r>
              <a:rPr lang="fr-FR" sz="1600" dirty="0" err="1"/>
              <a:t>object</a:t>
            </a:r>
            <a:endParaRPr lang="en-US" sz="1600" dirty="0" err="1"/>
          </a:p>
        </p:txBody>
      </p:sp>
      <p:sp>
        <p:nvSpPr>
          <p:cNvPr id="10" name="TextBox 9"/>
          <p:cNvSpPr txBox="1"/>
          <p:nvPr/>
        </p:nvSpPr>
        <p:spPr>
          <a:xfrm>
            <a:off x="5748528" y="3439775"/>
            <a:ext cx="6644640" cy="3515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a:solidFill>
                  <a:srgbClr val="29BA74"/>
                </a:solidFill>
              </a:defRPr>
            </a:lvl1pPr>
          </a:lstStyle>
          <a:p>
            <a:r>
              <a:rPr lang="en-US" sz="1600" dirty="0" err="1"/>
              <a:t>hasattr</a:t>
            </a:r>
            <a:r>
              <a:rPr lang="en-US" sz="1600" dirty="0"/>
              <a:t>(object, name) : test if a value is an attribute of the object</a:t>
            </a:r>
          </a:p>
        </p:txBody>
      </p:sp>
      <p:sp>
        <p:nvSpPr>
          <p:cNvPr id="11" name="TextBox 10"/>
          <p:cNvSpPr txBox="1"/>
          <p:nvPr/>
        </p:nvSpPr>
        <p:spPr>
          <a:xfrm>
            <a:off x="5748528" y="4542947"/>
            <a:ext cx="6644640" cy="3515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a:solidFill>
                  <a:srgbClr val="29BA74"/>
                </a:solidFill>
              </a:defRPr>
            </a:lvl1pPr>
          </a:lstStyle>
          <a:p>
            <a:r>
              <a:rPr lang="en-US" sz="1600" dirty="0" err="1"/>
              <a:t>delattr</a:t>
            </a:r>
            <a:r>
              <a:rPr lang="en-US" sz="1600" dirty="0"/>
              <a:t>(object, name) : remove attribute of the object</a:t>
            </a:r>
          </a:p>
        </p:txBody>
      </p:sp>
      <p:sp>
        <p:nvSpPr>
          <p:cNvPr id="22" name="Rectangle 21"/>
          <p:cNvSpPr/>
          <p:nvPr/>
        </p:nvSpPr>
        <p:spPr>
          <a:xfrm>
            <a:off x="609600" y="2765228"/>
            <a:ext cx="3743325" cy="1600438"/>
          </a:xfrm>
          <a:prstGeom prst="rect">
            <a:avLst/>
          </a:prstGeom>
          <a:solidFill>
            <a:srgbClr val="FFFFFF"/>
          </a:solidFill>
          <a:ln w="9525" cap="flat" cmpd="sng" algn="ctr">
            <a:solidFill>
              <a:srgbClr val="9A9A9A"/>
            </a:solidFill>
            <a:prstDash val="solid"/>
            <a:round/>
            <a:headEnd type="none" w="med" len="med"/>
            <a:tailEnd type="none" w="med" len="med"/>
          </a:ln>
        </p:spPr>
        <p:txBody>
          <a:bodyPr wrap="square">
            <a:spAutoFit/>
          </a:bodyPr>
          <a:lstStyle/>
          <a:p>
            <a:r>
              <a:rPr lang="fr-FR" sz="1400" b="1" dirty="0">
                <a:solidFill>
                  <a:srgbClr val="006699"/>
                </a:solidFill>
                <a:latin typeface="Consolas" panose="020B0609020204030204" pitchFamily="49" charset="0"/>
              </a:rPr>
              <a:t>class</a:t>
            </a:r>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Employe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default_age</a:t>
            </a:r>
            <a:r>
              <a:rPr lang="fr-FR" sz="1400" dirty="0">
                <a:solidFill>
                  <a:srgbClr val="000000"/>
                </a:solidFill>
                <a:latin typeface="Consolas" panose="020B0609020204030204" pitchFamily="49" charset="0"/>
              </a:rPr>
              <a:t> = 25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b="1" dirty="0" err="1">
                <a:solidFill>
                  <a:srgbClr val="006699"/>
                </a:solidFill>
                <a:latin typeface="Consolas" panose="020B0609020204030204" pitchFamily="49" charset="0"/>
              </a:rPr>
              <a:t>def</a:t>
            </a:r>
            <a:r>
              <a:rPr lang="fr-FR" sz="1400" dirty="0">
                <a:solidFill>
                  <a:srgbClr val="000000"/>
                </a:solidFill>
                <a:latin typeface="Consolas" panose="020B0609020204030204" pitchFamily="49" charset="0"/>
              </a:rPr>
              <a:t> __</a:t>
            </a:r>
            <a:r>
              <a:rPr lang="fr-FR" sz="1400" dirty="0" err="1">
                <a:solidFill>
                  <a:srgbClr val="000000"/>
                </a:solidFill>
                <a:latin typeface="Consolas" panose="020B0609020204030204" pitchFamily="49" charset="0"/>
              </a:rPr>
              <a:t>init</a:t>
            </a:r>
            <a:r>
              <a:rPr lang="fr-FR" sz="1400" dirty="0">
                <a:solidFill>
                  <a:srgbClr val="000000"/>
                </a:solidFill>
                <a:latin typeface="Consolas" panose="020B0609020204030204" pitchFamily="49" charset="0"/>
              </a:rPr>
              <a:t>__(</a:t>
            </a:r>
            <a:r>
              <a:rPr lang="fr-FR" sz="1400" dirty="0" err="1">
                <a:solidFill>
                  <a:srgbClr val="000000"/>
                </a:solidFill>
                <a:latin typeface="Consolas" panose="020B0609020204030204" pitchFamily="49" charset="0"/>
              </a:rPr>
              <a:t>self,ag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self.emp_comp</a:t>
            </a:r>
            <a:r>
              <a:rPr lang="fr-FR" sz="1400" dirty="0">
                <a:solidFill>
                  <a:srgbClr val="000000"/>
                </a:solidFill>
                <a:latin typeface="Consolas" panose="020B0609020204030204" pitchFamily="49" charset="0"/>
              </a:rPr>
              <a:t>= </a:t>
            </a:r>
            <a:r>
              <a:rPr lang="fr-FR" sz="1400" dirty="0">
                <a:solidFill>
                  <a:srgbClr val="0000FF"/>
                </a:solidFill>
                <a:latin typeface="Consolas" panose="020B0609020204030204" pitchFamily="49" charset="0"/>
              </a:rPr>
              <a:t>'gamma'</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r>
              <a:rPr lang="fr-FR" sz="1400" dirty="0" err="1">
                <a:solidFill>
                  <a:srgbClr val="000000"/>
                </a:solidFill>
                <a:latin typeface="Consolas" panose="020B0609020204030204" pitchFamily="49" charset="0"/>
              </a:rPr>
              <a:t>self.emp_age</a:t>
            </a:r>
            <a:r>
              <a:rPr lang="fr-FR" sz="1400" dirty="0">
                <a:solidFill>
                  <a:srgbClr val="000000"/>
                </a:solidFill>
                <a:latin typeface="Consolas" panose="020B0609020204030204" pitchFamily="49" charset="0"/>
              </a:rPr>
              <a:t> = </a:t>
            </a:r>
            <a:r>
              <a:rPr lang="fr-FR" sz="1400" dirty="0" err="1">
                <a:solidFill>
                  <a:srgbClr val="000000"/>
                </a:solidFill>
                <a:latin typeface="Consolas" panose="020B0609020204030204" pitchFamily="49" charset="0"/>
              </a:rPr>
              <a:t>age</a:t>
            </a:r>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  </a:t>
            </a:r>
            <a:endParaRPr lang="fr-FR" sz="1400" dirty="0">
              <a:solidFill>
                <a:srgbClr val="5C5C5C"/>
              </a:solidFill>
              <a:latin typeface="Consolas" panose="020B0609020204030204" pitchFamily="49" charset="0"/>
            </a:endParaRPr>
          </a:p>
          <a:p>
            <a:r>
              <a:rPr lang="fr-FR" sz="1400" dirty="0">
                <a:solidFill>
                  <a:srgbClr val="000000"/>
                </a:solidFill>
                <a:latin typeface="Consolas" panose="020B0609020204030204" pitchFamily="49" charset="0"/>
              </a:rPr>
              <a:t>&gt;&gt;&gt; </a:t>
            </a:r>
            <a:r>
              <a:rPr lang="fr-FR" sz="1400" dirty="0" err="1">
                <a:solidFill>
                  <a:srgbClr val="000000"/>
                </a:solidFill>
                <a:latin typeface="Consolas" panose="020B0609020204030204" pitchFamily="49" charset="0"/>
              </a:rPr>
              <a:t>emp</a:t>
            </a:r>
            <a:r>
              <a:rPr lang="fr-FR" sz="1400" dirty="0">
                <a:solidFill>
                  <a:srgbClr val="000000"/>
                </a:solidFill>
                <a:latin typeface="Consolas" panose="020B0609020204030204" pitchFamily="49" charset="0"/>
              </a:rPr>
              <a:t> = </a:t>
            </a:r>
            <a:r>
              <a:rPr lang="fr-FR" sz="1400" dirty="0" err="1">
                <a:solidFill>
                  <a:srgbClr val="000000"/>
                </a:solidFill>
                <a:latin typeface="Consolas" panose="020B0609020204030204" pitchFamily="49" charset="0"/>
              </a:rPr>
              <a:t>Employee</a:t>
            </a:r>
            <a:r>
              <a:rPr lang="fr-FR" sz="1400" dirty="0">
                <a:solidFill>
                  <a:srgbClr val="000000"/>
                </a:solidFill>
                <a:latin typeface="Consolas" panose="020B0609020204030204" pitchFamily="49" charset="0"/>
              </a:rPr>
              <a:t>(27)  </a:t>
            </a:r>
            <a:endParaRPr lang="fr-FR" sz="1400" b="0" i="0" dirty="0">
              <a:solidFill>
                <a:srgbClr val="5C5C5C"/>
              </a:solidFill>
              <a:effectLst/>
              <a:latin typeface="Consolas" panose="020B0609020204030204" pitchFamily="49" charset="0"/>
            </a:endParaRPr>
          </a:p>
        </p:txBody>
      </p:sp>
      <p:grpSp>
        <p:nvGrpSpPr>
          <p:cNvPr id="23" name="Group 22"/>
          <p:cNvGrpSpPr/>
          <p:nvPr/>
        </p:nvGrpSpPr>
        <p:grpSpPr>
          <a:xfrm>
            <a:off x="5084434" y="1676917"/>
            <a:ext cx="306171" cy="4079081"/>
            <a:chOff x="5942914" y="2081213"/>
            <a:chExt cx="306171" cy="4079081"/>
          </a:xfrm>
        </p:grpSpPr>
        <p:cxnSp>
          <p:nvCxnSpPr>
            <p:cNvPr id="27" name="Straight Connector 26"/>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5942914" y="3967299"/>
              <a:ext cx="306171" cy="306910"/>
              <a:chOff x="5937564" y="3833745"/>
              <a:chExt cx="306171" cy="306910"/>
            </a:xfrm>
          </p:grpSpPr>
          <p:sp>
            <p:nvSpPr>
              <p:cNvPr id="29"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0"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2"/>
    </p:custDataLst>
    <p:extLst>
      <p:ext uri="{BB962C8B-B14F-4D97-AF65-F5344CB8AC3E}">
        <p14:creationId xmlns:p14="http://schemas.microsoft.com/office/powerpoint/2010/main" val="4177029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3634689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3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p:txBody>
          <a:bodyPr/>
          <a:lstStyle/>
          <a:p>
            <a:r>
              <a:rPr lang="en-US" dirty="0"/>
              <a:t>Exercise 1.2</a:t>
            </a:r>
            <a:br>
              <a:rPr lang="en-US" dirty="0"/>
            </a:br>
            <a:r>
              <a:rPr lang="en-US" dirty="0"/>
              <a:t>Implement a class</a:t>
            </a:r>
            <a:br>
              <a:rPr lang="en-US" dirty="0"/>
            </a:br>
            <a:r>
              <a:rPr lang="en-US" sz="2000" dirty="0"/>
              <a:t>Branch </a:t>
            </a:r>
            <a:r>
              <a:rPr lang="fr-FR" sz="2000" dirty="0" err="1"/>
              <a:t>origin</a:t>
            </a:r>
            <a:r>
              <a:rPr lang="fr-FR" sz="2000" dirty="0"/>
              <a:t>/training/ex-class-</a:t>
            </a:r>
            <a:r>
              <a:rPr lang="fr-FR" sz="2000" dirty="0" err="1"/>
              <a:t>df</a:t>
            </a:r>
            <a:r>
              <a:rPr lang="fr-FR" sz="2000" b="1" dirty="0"/>
              <a:t/>
            </a:r>
            <a:br>
              <a:rPr lang="fr-FR" sz="2000" b="1" dirty="0"/>
            </a:br>
            <a:endParaRPr lang="en-US" sz="2000" dirty="0"/>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Tree>
    <p:custDataLst>
      <p:tags r:id="rId2"/>
    </p:custDataLst>
    <p:extLst>
      <p:ext uri="{BB962C8B-B14F-4D97-AF65-F5344CB8AC3E}">
        <p14:creationId xmlns:p14="http://schemas.microsoft.com/office/powerpoint/2010/main" val="894076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hlinkClick r:id="rId15" action="ppaction://hlinksldjump"/>
          </p:cNvPr>
          <p:cNvSpPr/>
          <p:nvPr>
            <p:custDataLst>
              <p:tags r:id="rId3"/>
            </p:custDataLst>
          </p:nvPr>
        </p:nvSpPr>
        <p:spPr>
          <a:xfrm>
            <a:off x="5166432" y="4164441"/>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Tests</a:t>
            </a:r>
          </a:p>
        </p:txBody>
      </p:sp>
      <p:sp>
        <p:nvSpPr>
          <p:cNvPr id="10" name="Rectangle 9">
            <a:hlinkClick r:id="rId16" action="ppaction://hlinksldjump"/>
          </p:cNvPr>
          <p:cNvSpPr/>
          <p:nvPr>
            <p:custDataLst>
              <p:tags r:id="rId4"/>
            </p:custDataLst>
          </p:nvPr>
        </p:nvSpPr>
        <p:spPr>
          <a:xfrm>
            <a:off x="5166432" y="384341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Built-in functions</a:t>
            </a:r>
          </a:p>
        </p:txBody>
      </p:sp>
      <p:sp>
        <p:nvSpPr>
          <p:cNvPr id="9" name="Rectangle 8">
            <a:hlinkClick r:id="rId17" action="ppaction://hlinksldjump"/>
          </p:cNvPr>
          <p:cNvSpPr/>
          <p:nvPr>
            <p:custDataLst>
              <p:tags r:id="rId5"/>
            </p:custDataLst>
          </p:nvPr>
        </p:nvSpPr>
        <p:spPr>
          <a:xfrm>
            <a:off x="5166432" y="360493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Data Encapsulation, Inheritance &amp; Polymorphism</a:t>
            </a:r>
          </a:p>
        </p:txBody>
      </p:sp>
      <p:sp>
        <p:nvSpPr>
          <p:cNvPr id="8" name="Rectangle 7">
            <a:hlinkClick r:id="rId18" action="ppaction://hlinksldjump"/>
          </p:cNvPr>
          <p:cNvSpPr/>
          <p:nvPr>
            <p:custDataLst>
              <p:tags r:id="rId6"/>
            </p:custDataLst>
          </p:nvPr>
        </p:nvSpPr>
        <p:spPr>
          <a:xfrm>
            <a:off x="5166432" y="336645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Property</a:t>
            </a:r>
          </a:p>
        </p:txBody>
      </p:sp>
      <p:sp>
        <p:nvSpPr>
          <p:cNvPr id="7" name="Rectangle 6">
            <a:hlinkClick r:id="rId19" action="ppaction://hlinksldjump"/>
          </p:cNvPr>
          <p:cNvSpPr/>
          <p:nvPr>
            <p:custDataLst>
              <p:tags r:id="rId7"/>
            </p:custDataLst>
          </p:nvPr>
        </p:nvSpPr>
        <p:spPr>
          <a:xfrm>
            <a:off x="5166432" y="312797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Class, Objects and Methods</a:t>
            </a:r>
          </a:p>
        </p:txBody>
      </p:sp>
      <p:sp>
        <p:nvSpPr>
          <p:cNvPr id="6" name="Rectangle 5">
            <a:hlinkClick r:id="rId20" action="ppaction://hlinksldjump"/>
          </p:cNvPr>
          <p:cNvSpPr/>
          <p:nvPr>
            <p:custDataLst>
              <p:tags r:id="rId8"/>
            </p:custDataLst>
          </p:nvPr>
        </p:nvSpPr>
        <p:spPr>
          <a:xfrm>
            <a:off x="5166432" y="2826910"/>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OOP Fundamentals</a:t>
            </a:r>
          </a:p>
        </p:txBody>
      </p:sp>
      <p:sp>
        <p:nvSpPr>
          <p:cNvPr id="5" name="Oval 4"/>
          <p:cNvSpPr/>
          <p:nvPr>
            <p:custDataLst>
              <p:tags r:id="rId9"/>
            </p:custDataLst>
          </p:nvPr>
        </p:nvSpPr>
        <p:spPr>
          <a:xfrm>
            <a:off x="4714058" y="2422125"/>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Trebuchet MS" panose="020B0603020202020204" pitchFamily="34" charset="0"/>
            </a:endParaRPr>
          </a:p>
        </p:txBody>
      </p:sp>
      <p:pic>
        <p:nvPicPr>
          <p:cNvPr id="4" name="Picture 3"/>
          <p:cNvPicPr>
            <a:picLocks/>
          </p:cNvPicPr>
          <p:nvPr>
            <p:custDataLst>
              <p:tags r:id="rId10"/>
            </p:custDataLst>
          </p:nvPr>
        </p:nvPicPr>
        <p:blipFill>
          <a:blip r:embed="rId21">
            <a:extLst>
              <a:ext uri="{28A0092B-C50C-407E-A947-70E740481C1C}">
                <a14:useLocalDpi xmlns:a14="http://schemas.microsoft.com/office/drawing/2010/main" val="0"/>
              </a:ext>
            </a:extLst>
          </a:blip>
          <a:stretch>
            <a:fillRect/>
          </a:stretch>
        </p:blipFill>
        <p:spPr>
          <a:xfrm>
            <a:off x="4714058" y="2422125"/>
            <a:ext cx="293147" cy="292608"/>
          </a:xfrm>
          <a:prstGeom prst="rect">
            <a:avLst/>
          </a:prstGeom>
        </p:spPr>
      </p:pic>
      <p:sp>
        <p:nvSpPr>
          <p:cNvPr id="3" name="Rectangle 2">
            <a:hlinkClick r:id="rId22" action="ppaction://hlinksldjump"/>
          </p:cNvPr>
          <p:cNvSpPr/>
          <p:nvPr>
            <p:custDataLst>
              <p:tags r:id="rId11"/>
            </p:custDataLst>
          </p:nvPr>
        </p:nvSpPr>
        <p:spPr>
          <a:xfrm>
            <a:off x="5166432" y="2443299"/>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100000"/>
                  </a:schemeClr>
                </a:solidFill>
                <a:latin typeface="Trebuchet MS" panose="020B0603020202020204" pitchFamily="34" charset="0"/>
              </a:rPr>
              <a:t>Use Cases Exercises (Reminder)</a:t>
            </a:r>
          </a:p>
        </p:txBody>
      </p:sp>
      <p:sp>
        <p:nvSpPr>
          <p:cNvPr id="2" name="Title 1"/>
          <p:cNvSpPr>
            <a:spLocks noGrp="1"/>
          </p:cNvSpPr>
          <p:nvPr>
            <p:ph type="title"/>
            <p:custDataLst>
              <p:tags r:id="rId12"/>
            </p:custDataLst>
          </p:nvPr>
        </p:nvSpPr>
        <p:spPr/>
        <p:txBody>
          <a:bodyPr/>
          <a:lstStyle/>
          <a:p>
            <a:r>
              <a:rPr lang="en-US"/>
              <a:t>Agenda</a:t>
            </a:r>
          </a:p>
        </p:txBody>
      </p:sp>
      <p:graphicFrame>
        <p:nvGraphicFramePr>
          <p:cNvPr id="57" name="Object 56" hidden="1"/>
          <p:cNvGraphicFramePr>
            <a:graphicFrameLocks noChangeAspect="1"/>
          </p:cNvGraphicFramePr>
          <p:nvPr>
            <p:custDataLst>
              <p:tags r:id="rId13"/>
            </p:custDataLst>
            <p:extLst>
              <p:ext uri="{D42A27DB-BD31-4B8C-83A1-F6EECF244321}">
                <p14:modId xmlns:p14="http://schemas.microsoft.com/office/powerpoint/2010/main" val="309518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96" name="think-cell Slide" r:id="rId23" imgW="473" imgH="473" progId="TCLayout.ActiveDocument.1">
                  <p:embed/>
                </p:oleObj>
              </mc:Choice>
              <mc:Fallback>
                <p:oleObj name="think-cell Slide" r:id="rId23" imgW="473" imgH="473"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4244206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p:cNvSpPr/>
          <p:nvPr>
            <p:custDataLst>
              <p:tags r:id="rId2"/>
            </p:custDataLst>
          </p:nvPr>
        </p:nvSpPr>
        <p:spPr>
          <a:xfrm>
            <a:off x="4714058" y="4143267"/>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Trebuchet MS" panose="020B0603020202020204" pitchFamily="34" charset="0"/>
            </a:endParaRPr>
          </a:p>
        </p:txBody>
      </p:sp>
      <p:pic>
        <p:nvPicPr>
          <p:cNvPr id="10" name="Picture 9"/>
          <p:cNvPicPr>
            <a:picLocks/>
          </p:cNvPicPr>
          <p:nvPr>
            <p:custDataLst>
              <p:tags r:id="rId3"/>
            </p:custDataLst>
          </p:nvPr>
        </p:nvPicPr>
        <p:blipFill>
          <a:blip r:embed="rId13">
            <a:extLst>
              <a:ext uri="{28A0092B-C50C-407E-A947-70E740481C1C}">
                <a14:useLocalDpi xmlns:a14="http://schemas.microsoft.com/office/drawing/2010/main" val="0"/>
              </a:ext>
            </a:extLst>
          </a:blip>
          <a:stretch>
            <a:fillRect/>
          </a:stretch>
        </p:blipFill>
        <p:spPr>
          <a:xfrm>
            <a:off x="4714058" y="4143267"/>
            <a:ext cx="293147" cy="292608"/>
          </a:xfrm>
          <a:prstGeom prst="rect">
            <a:avLst/>
          </a:prstGeom>
        </p:spPr>
      </p:pic>
      <p:sp>
        <p:nvSpPr>
          <p:cNvPr id="9" name="Rectangle 8">
            <a:hlinkClick r:id="rId14" action="ppaction://hlinksldjump"/>
          </p:cNvPr>
          <p:cNvSpPr/>
          <p:nvPr>
            <p:custDataLst>
              <p:tags r:id="rId4"/>
            </p:custDataLst>
          </p:nvPr>
        </p:nvSpPr>
        <p:spPr>
          <a:xfrm>
            <a:off x="5166432" y="4164441"/>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100000"/>
                  </a:schemeClr>
                </a:solidFill>
                <a:latin typeface="Trebuchet MS" panose="020B0603020202020204" pitchFamily="34" charset="0"/>
              </a:rPr>
              <a:t>Tests</a:t>
            </a:r>
          </a:p>
        </p:txBody>
      </p:sp>
      <p:sp>
        <p:nvSpPr>
          <p:cNvPr id="8" name="Rectangle 7">
            <a:hlinkClick r:id="rId15" action="ppaction://hlinksldjump"/>
          </p:cNvPr>
          <p:cNvSpPr/>
          <p:nvPr>
            <p:custDataLst>
              <p:tags r:id="rId5"/>
            </p:custDataLst>
          </p:nvPr>
        </p:nvSpPr>
        <p:spPr>
          <a:xfrm>
            <a:off x="5166432" y="384341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Built-in functions</a:t>
            </a:r>
          </a:p>
        </p:txBody>
      </p:sp>
      <p:sp>
        <p:nvSpPr>
          <p:cNvPr id="7" name="Rectangle 6">
            <a:hlinkClick r:id="rId16" action="ppaction://hlinksldjump"/>
          </p:cNvPr>
          <p:cNvSpPr/>
          <p:nvPr>
            <p:custDataLst>
              <p:tags r:id="rId6"/>
            </p:custDataLst>
          </p:nvPr>
        </p:nvSpPr>
        <p:spPr>
          <a:xfrm>
            <a:off x="5166432" y="360493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Data Encapsulation, Inheritance &amp; Polymorphism</a:t>
            </a:r>
          </a:p>
        </p:txBody>
      </p:sp>
      <p:sp>
        <p:nvSpPr>
          <p:cNvPr id="6" name="Rectangle 5">
            <a:hlinkClick r:id="rId17" action="ppaction://hlinksldjump"/>
          </p:cNvPr>
          <p:cNvSpPr/>
          <p:nvPr>
            <p:custDataLst>
              <p:tags r:id="rId7"/>
            </p:custDataLst>
          </p:nvPr>
        </p:nvSpPr>
        <p:spPr>
          <a:xfrm>
            <a:off x="5166432" y="336645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Property</a:t>
            </a:r>
          </a:p>
        </p:txBody>
      </p:sp>
      <p:sp>
        <p:nvSpPr>
          <p:cNvPr id="5" name="Rectangle 4">
            <a:hlinkClick r:id="rId18" action="ppaction://hlinksldjump"/>
          </p:cNvPr>
          <p:cNvSpPr/>
          <p:nvPr>
            <p:custDataLst>
              <p:tags r:id="rId8"/>
            </p:custDataLst>
          </p:nvPr>
        </p:nvSpPr>
        <p:spPr>
          <a:xfrm>
            <a:off x="5166432" y="3127971"/>
            <a:ext cx="3352650" cy="187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200">
                <a:solidFill>
                  <a:schemeClr val="tx1">
                    <a:lumMod val="60000"/>
                    <a:lumOff val="40000"/>
                  </a:schemeClr>
                </a:solidFill>
                <a:latin typeface="Trebuchet MS" panose="020B0603020202020204" pitchFamily="34" charset="0"/>
              </a:rPr>
              <a:t>Class, Objects and Methods</a:t>
            </a:r>
          </a:p>
        </p:txBody>
      </p:sp>
      <p:sp>
        <p:nvSpPr>
          <p:cNvPr id="4" name="Rectangle 3">
            <a:hlinkClick r:id="rId19" action="ppaction://hlinksldjump"/>
          </p:cNvPr>
          <p:cNvSpPr/>
          <p:nvPr>
            <p:custDataLst>
              <p:tags r:id="rId9"/>
            </p:custDataLst>
          </p:nvPr>
        </p:nvSpPr>
        <p:spPr>
          <a:xfrm>
            <a:off x="5166432" y="2826910"/>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OOP Fundamentals</a:t>
            </a:r>
          </a:p>
        </p:txBody>
      </p:sp>
      <p:sp>
        <p:nvSpPr>
          <p:cNvPr id="3" name="Rectangle 2">
            <a:hlinkClick r:id="rId20" action="ppaction://hlinksldjump"/>
          </p:cNvPr>
          <p:cNvSpPr/>
          <p:nvPr>
            <p:custDataLst>
              <p:tags r:id="rId10"/>
            </p:custDataLst>
          </p:nvPr>
        </p:nvSpPr>
        <p:spPr>
          <a:xfrm>
            <a:off x="5166432" y="2443299"/>
            <a:ext cx="3352650" cy="2502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1600">
                <a:solidFill>
                  <a:schemeClr val="tx1">
                    <a:lumMod val="60000"/>
                    <a:lumOff val="40000"/>
                  </a:schemeClr>
                </a:solidFill>
                <a:latin typeface="Trebuchet MS" panose="020B0603020202020204" pitchFamily="34" charset="0"/>
              </a:rPr>
              <a:t>Use Cases Exercises (Reminder)</a:t>
            </a:r>
          </a:p>
        </p:txBody>
      </p:sp>
      <p:sp>
        <p:nvSpPr>
          <p:cNvPr id="2" name="Title 1"/>
          <p:cNvSpPr>
            <a:spLocks noGrp="1"/>
          </p:cNvSpPr>
          <p:nvPr>
            <p:ph type="title"/>
            <p:custDataLst>
              <p:tags r:id="rId11"/>
            </p:custDataLst>
          </p:nvPr>
        </p:nvSpPr>
        <p:spPr/>
        <p:txBody>
          <a:bodyPr/>
          <a:lstStyle/>
          <a:p>
            <a:r>
              <a:rPr lang="en-US"/>
              <a:t>Agenda</a:t>
            </a:r>
          </a:p>
        </p:txBody>
      </p:sp>
    </p:spTree>
    <p:custDataLst>
      <p:tags r:id="rId1"/>
    </p:custDataLst>
    <p:extLst>
      <p:ext uri="{BB962C8B-B14F-4D97-AF65-F5344CB8AC3E}">
        <p14:creationId xmlns:p14="http://schemas.microsoft.com/office/powerpoint/2010/main" val="3805186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573471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97"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Tests should cover each step of the production process</a:t>
            </a:r>
          </a:p>
        </p:txBody>
      </p:sp>
      <p:sp>
        <p:nvSpPr>
          <p:cNvPr id="18" name="TextBox 17"/>
          <p:cNvSpPr txBox="1"/>
          <p:nvPr/>
        </p:nvSpPr>
        <p:spPr>
          <a:xfrm>
            <a:off x="5824617" y="2848601"/>
            <a:ext cx="4147917" cy="9541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dirty="0">
              <a:solidFill>
                <a:srgbClr val="29BA74"/>
              </a:solidFill>
            </a:endParaRPr>
          </a:p>
        </p:txBody>
      </p:sp>
      <p:sp>
        <p:nvSpPr>
          <p:cNvPr id="19" name="TextBox 18"/>
          <p:cNvSpPr txBox="1"/>
          <p:nvPr/>
        </p:nvSpPr>
        <p:spPr>
          <a:xfrm>
            <a:off x="5654984" y="3934284"/>
            <a:ext cx="5276756" cy="9541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dirty="0">
              <a:solidFill>
                <a:srgbClr val="29BA74"/>
              </a:solidFill>
            </a:endParaRPr>
          </a:p>
        </p:txBody>
      </p:sp>
      <p:sp>
        <p:nvSpPr>
          <p:cNvPr id="20" name="TextBox 19"/>
          <p:cNvSpPr txBox="1"/>
          <p:nvPr/>
        </p:nvSpPr>
        <p:spPr>
          <a:xfrm>
            <a:off x="2424462" y="3884383"/>
            <a:ext cx="3774186" cy="10539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dirty="0">
              <a:solidFill>
                <a:srgbClr val="29BA74"/>
              </a:solidFill>
            </a:endParaRPr>
          </a:p>
        </p:txBody>
      </p:sp>
      <p:sp>
        <p:nvSpPr>
          <p:cNvPr id="24" name="TextBox 23"/>
          <p:cNvSpPr txBox="1"/>
          <p:nvPr/>
        </p:nvSpPr>
        <p:spPr>
          <a:xfrm>
            <a:off x="178099" y="3367438"/>
            <a:ext cx="1594132" cy="8504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rgbClr val="7F7F7F"/>
              </a:solidFill>
            </a:endParaRPr>
          </a:p>
        </p:txBody>
      </p:sp>
      <p:grpSp>
        <p:nvGrpSpPr>
          <p:cNvPr id="28" name="Group 27"/>
          <p:cNvGrpSpPr/>
          <p:nvPr/>
        </p:nvGrpSpPr>
        <p:grpSpPr>
          <a:xfrm>
            <a:off x="22186" y="2671608"/>
            <a:ext cx="10193585" cy="2966723"/>
            <a:chOff x="3401468" y="1794939"/>
            <a:chExt cx="4516271" cy="2966723"/>
          </a:xfrm>
        </p:grpSpPr>
        <p:sp>
          <p:nvSpPr>
            <p:cNvPr id="29" name="Rectangle 4"/>
            <p:cNvSpPr>
              <a:spLocks noChangeArrowheads="1"/>
            </p:cNvSpPr>
            <p:nvPr/>
          </p:nvSpPr>
          <p:spPr bwMode="auto">
            <a:xfrm>
              <a:off x="6088939" y="1794939"/>
              <a:ext cx="1828800" cy="1347787"/>
            </a:xfrm>
            <a:prstGeom prst="rect">
              <a:avLst/>
            </a:prstGeom>
            <a:noFill/>
            <a:ln w="3175" cap="rnd">
              <a:solidFill>
                <a:schemeClr val="tx2"/>
              </a:solidFill>
              <a:round/>
              <a:headEnd/>
              <a:tailEnd/>
            </a:ln>
            <a:extLst>
              <a:ext uri="{909E8E84-426E-40DD-AFC4-6F175D3DCCD1}">
                <a14:hiddenFill xmlns:a14="http://schemas.microsoft.com/office/drawing/2010/main">
                  <a:solidFill>
                    <a:schemeClr val="bg1"/>
                  </a:solidFill>
                </a14:hiddenFill>
              </a:ext>
            </a:extLst>
          </p:spPr>
          <p:txBody>
            <a:bodyPr wrap="none" lIns="103900" tIns="103900" rIns="103900" bIns="103900" anchor="ctr"/>
            <a:lstStyle/>
            <a:p>
              <a:endParaRPr lang="en-US" b="1" dirty="0">
                <a:solidFill>
                  <a:srgbClr val="575757"/>
                </a:solidFill>
              </a:endParaRPr>
            </a:p>
            <a:p>
              <a:r>
                <a:rPr lang="en-US" b="1" dirty="0">
                  <a:solidFill>
                    <a:srgbClr val="575757"/>
                  </a:solidFill>
                </a:rPr>
                <a:t>Exploratory testing</a:t>
              </a:r>
            </a:p>
            <a:p>
              <a:r>
                <a:rPr lang="en-US" dirty="0">
                  <a:solidFill>
                    <a:srgbClr val="575757"/>
                  </a:solidFill>
                </a:rPr>
                <a:t>Usability, how can I break the system?  </a:t>
              </a:r>
            </a:p>
            <a:p>
              <a:r>
                <a:rPr lang="en-US" dirty="0">
                  <a:solidFill>
                    <a:srgbClr val="29BA74"/>
                  </a:solidFill>
                </a:rPr>
                <a:t>Manual</a:t>
              </a:r>
            </a:p>
            <a:p>
              <a:pPr algn="ctr"/>
              <a:endParaRPr lang="en-US" dirty="0">
                <a:sym typeface="Trebuchet MS" panose="020B0603020202020204" pitchFamily="34" charset="0"/>
              </a:endParaRPr>
            </a:p>
          </p:txBody>
        </p:sp>
        <p:sp>
          <p:nvSpPr>
            <p:cNvPr id="30" name="Rectangle 5"/>
            <p:cNvSpPr>
              <a:spLocks noChangeArrowheads="1"/>
            </p:cNvSpPr>
            <p:nvPr/>
          </p:nvSpPr>
          <p:spPr bwMode="auto">
            <a:xfrm>
              <a:off x="4260139" y="1794939"/>
              <a:ext cx="1828800" cy="1347787"/>
            </a:xfrm>
            <a:prstGeom prst="rect">
              <a:avLst/>
            </a:prstGeom>
            <a:noFill/>
            <a:ln w="3175" cap="rnd">
              <a:solidFill>
                <a:schemeClr val="tx2"/>
              </a:solidFill>
              <a:round/>
              <a:headEnd/>
              <a:tailEnd/>
            </a:ln>
            <a:extLst>
              <a:ext uri="{909E8E84-426E-40DD-AFC4-6F175D3DCCD1}">
                <a14:hiddenFill xmlns:a14="http://schemas.microsoft.com/office/drawing/2010/main">
                  <a:solidFill>
                    <a:schemeClr val="bg1"/>
                  </a:solidFill>
                </a14:hiddenFill>
              </a:ext>
            </a:extLst>
          </p:spPr>
          <p:txBody>
            <a:bodyPr wrap="none" lIns="103900" tIns="103900" rIns="103900" bIns="103900" anchor="ctr"/>
            <a:lstStyle/>
            <a:p>
              <a:r>
                <a:rPr lang="en-US" b="1" dirty="0">
                  <a:solidFill>
                    <a:srgbClr val="575757"/>
                  </a:solidFill>
                </a:rPr>
                <a:t>Acceptance testing</a:t>
              </a:r>
            </a:p>
            <a:p>
              <a:r>
                <a:rPr lang="en-US" dirty="0">
                  <a:solidFill>
                    <a:srgbClr val="575757"/>
                  </a:solidFill>
                </a:rPr>
                <a:t>Did we build the right thing?</a:t>
              </a:r>
            </a:p>
            <a:p>
              <a:r>
                <a:rPr lang="en-US" dirty="0">
                  <a:solidFill>
                    <a:srgbClr val="29BA74"/>
                  </a:solidFill>
                </a:rPr>
                <a:t>Automated (Fit-Finesse, </a:t>
              </a:r>
              <a:r>
                <a:rPr lang="en-US" dirty="0" err="1">
                  <a:solidFill>
                    <a:srgbClr val="29BA74"/>
                  </a:solidFill>
                </a:rPr>
                <a:t>etc</a:t>
              </a:r>
              <a:r>
                <a:rPr lang="en-US" dirty="0">
                  <a:solidFill>
                    <a:srgbClr val="29BA74"/>
                  </a:solidFill>
                </a:rPr>
                <a:t>…)</a:t>
              </a:r>
            </a:p>
          </p:txBody>
        </p:sp>
        <p:sp>
          <p:nvSpPr>
            <p:cNvPr id="31" name="Rectangle 6"/>
            <p:cNvSpPr>
              <a:spLocks noChangeArrowheads="1"/>
            </p:cNvSpPr>
            <p:nvPr/>
          </p:nvSpPr>
          <p:spPr bwMode="auto">
            <a:xfrm>
              <a:off x="4260137" y="3142488"/>
              <a:ext cx="1828800" cy="1332000"/>
            </a:xfrm>
            <a:prstGeom prst="rect">
              <a:avLst/>
            </a:prstGeom>
            <a:noFill/>
            <a:ln w="3175" cap="rnd">
              <a:solidFill>
                <a:schemeClr val="tx2"/>
              </a:solidFill>
              <a:round/>
              <a:headEnd/>
              <a:tailEnd/>
            </a:ln>
            <a:extLst>
              <a:ext uri="{909E8E84-426E-40DD-AFC4-6F175D3DCCD1}">
                <a14:hiddenFill xmlns:a14="http://schemas.microsoft.com/office/drawing/2010/main">
                  <a:solidFill>
                    <a:schemeClr val="bg1"/>
                  </a:solidFill>
                </a14:hiddenFill>
              </a:ext>
            </a:extLst>
          </p:spPr>
          <p:txBody>
            <a:bodyPr wrap="none" lIns="103900" tIns="103900" rIns="103900" bIns="103900" anchor="ctr"/>
            <a:lstStyle/>
            <a:p>
              <a:r>
                <a:rPr lang="en-US" b="1" dirty="0">
                  <a:solidFill>
                    <a:srgbClr val="575757"/>
                  </a:solidFill>
                </a:rPr>
                <a:t>Unit testing</a:t>
              </a:r>
            </a:p>
            <a:p>
              <a:r>
                <a:rPr lang="en-US" dirty="0">
                  <a:solidFill>
                    <a:srgbClr val="575757"/>
                  </a:solidFill>
                </a:rPr>
                <a:t>Did we build it right? </a:t>
              </a:r>
            </a:p>
            <a:p>
              <a:r>
                <a:rPr lang="en-US" dirty="0">
                  <a:solidFill>
                    <a:srgbClr val="29BA74"/>
                  </a:solidFill>
                </a:rPr>
                <a:t>Automated (Unit framework)</a:t>
              </a:r>
            </a:p>
          </p:txBody>
        </p:sp>
        <p:sp>
          <p:nvSpPr>
            <p:cNvPr id="32" name="Rectangle 7"/>
            <p:cNvSpPr>
              <a:spLocks noChangeArrowheads="1"/>
            </p:cNvSpPr>
            <p:nvPr/>
          </p:nvSpPr>
          <p:spPr bwMode="auto">
            <a:xfrm>
              <a:off x="6088938" y="3143741"/>
              <a:ext cx="1828801" cy="1330747"/>
            </a:xfrm>
            <a:prstGeom prst="rect">
              <a:avLst/>
            </a:prstGeom>
            <a:noFill/>
            <a:ln w="3175" cap="rnd">
              <a:solidFill>
                <a:schemeClr val="tx2"/>
              </a:solidFill>
              <a:round/>
              <a:headEnd/>
              <a:tailEnd/>
            </a:ln>
            <a:extLst>
              <a:ext uri="{909E8E84-426E-40DD-AFC4-6F175D3DCCD1}">
                <a14:hiddenFill xmlns:a14="http://schemas.microsoft.com/office/drawing/2010/main">
                  <a:solidFill>
                    <a:schemeClr val="bg1"/>
                  </a:solidFill>
                </a14:hiddenFill>
              </a:ext>
            </a:extLst>
          </p:spPr>
          <p:txBody>
            <a:bodyPr wrap="none" lIns="103900" tIns="103900" rIns="103900" bIns="103900" anchor="ctr"/>
            <a:lstStyle/>
            <a:p>
              <a:endParaRPr lang="en-US" b="1" dirty="0">
                <a:solidFill>
                  <a:srgbClr val="575757"/>
                </a:solidFill>
              </a:endParaRPr>
            </a:p>
            <a:p>
              <a:r>
                <a:rPr lang="en-US" b="1" dirty="0">
                  <a:solidFill>
                    <a:srgbClr val="575757"/>
                  </a:solidFill>
                </a:rPr>
                <a:t>Property testing</a:t>
              </a:r>
            </a:p>
            <a:p>
              <a:r>
                <a:rPr lang="en-US" dirty="0">
                  <a:solidFill>
                    <a:srgbClr val="575757"/>
                  </a:solidFill>
                </a:rPr>
                <a:t>Response time, scalability, </a:t>
              </a:r>
            </a:p>
            <a:p>
              <a:r>
                <a:rPr lang="en-US" dirty="0">
                  <a:solidFill>
                    <a:srgbClr val="575757"/>
                  </a:solidFill>
                </a:rPr>
                <a:t>performance, security</a:t>
              </a:r>
            </a:p>
            <a:p>
              <a:r>
                <a:rPr lang="en-US" dirty="0">
                  <a:solidFill>
                    <a:srgbClr val="29BA74"/>
                  </a:solidFill>
                </a:rPr>
                <a:t>Tools</a:t>
              </a:r>
            </a:p>
            <a:p>
              <a:pPr algn="ctr"/>
              <a:endParaRPr lang="en-US" dirty="0">
                <a:sym typeface="Trebuchet MS" panose="020B0603020202020204" pitchFamily="34" charset="0"/>
              </a:endParaRPr>
            </a:p>
          </p:txBody>
        </p:sp>
        <p:sp>
          <p:nvSpPr>
            <p:cNvPr id="35" name="Rectangle 10"/>
            <p:cNvSpPr>
              <a:spLocks noChangeArrowheads="1"/>
            </p:cNvSpPr>
            <p:nvPr/>
          </p:nvSpPr>
          <p:spPr bwMode="auto">
            <a:xfrm>
              <a:off x="5506585" y="4456862"/>
              <a:ext cx="1172308" cy="304800"/>
            </a:xfrm>
            <a:prstGeom prst="rect">
              <a:avLst/>
            </a:prstGeom>
            <a:noFill/>
            <a:ln w="12700">
              <a:noFill/>
              <a:miter lim="800000"/>
              <a:headEnd/>
              <a:tailEnd/>
            </a:ln>
          </p:spPr>
          <p:txBody>
            <a:bodyPr wrap="none" lIns="103900" tIns="103900" rIns="103900" bIns="103900"/>
            <a:lstStyle/>
            <a:p>
              <a:pPr algn="ctr"/>
              <a:r>
                <a:rPr lang="en-US" sz="1600" dirty="0">
                  <a:solidFill>
                    <a:srgbClr val="7F7F7F"/>
                  </a:solidFill>
                  <a:sym typeface="Trebuchet MS" panose="020B0603020202020204" pitchFamily="34" charset="0"/>
                </a:rPr>
                <a:t>Technology facing</a:t>
              </a:r>
            </a:p>
          </p:txBody>
        </p:sp>
        <p:sp>
          <p:nvSpPr>
            <p:cNvPr id="38" name="Rectangle 13"/>
            <p:cNvSpPr>
              <a:spLocks noChangeArrowheads="1"/>
            </p:cNvSpPr>
            <p:nvPr/>
          </p:nvSpPr>
          <p:spPr bwMode="auto">
            <a:xfrm>
              <a:off x="3401468" y="2986023"/>
              <a:ext cx="844061" cy="304800"/>
            </a:xfrm>
            <a:prstGeom prst="rect">
              <a:avLst/>
            </a:prstGeom>
            <a:noFill/>
            <a:ln w="12700">
              <a:noFill/>
              <a:miter lim="800000"/>
              <a:headEnd/>
              <a:tailEnd/>
            </a:ln>
          </p:spPr>
          <p:txBody>
            <a:bodyPr wrap="none" lIns="103900" tIns="103900" rIns="103900" bIns="103900" anchor="ctr"/>
            <a:lstStyle/>
            <a:p>
              <a:pPr algn="r"/>
              <a:r>
                <a:rPr lang="en-US" sz="1600" dirty="0">
                  <a:solidFill>
                    <a:srgbClr val="7F7F7F"/>
                  </a:solidFill>
                  <a:sym typeface="Trebuchet MS" panose="020B0603020202020204" pitchFamily="34" charset="0"/>
                </a:rPr>
                <a:t>Support </a:t>
              </a:r>
            </a:p>
            <a:p>
              <a:pPr algn="r"/>
              <a:r>
                <a:rPr lang="en-US" sz="1600" dirty="0">
                  <a:solidFill>
                    <a:srgbClr val="7F7F7F"/>
                  </a:solidFill>
                  <a:sym typeface="Trebuchet MS" panose="020B0603020202020204" pitchFamily="34" charset="0"/>
                </a:rPr>
                <a:t>programming</a:t>
              </a:r>
            </a:p>
          </p:txBody>
        </p:sp>
      </p:grpSp>
      <p:sp>
        <p:nvSpPr>
          <p:cNvPr id="39" name="Rectangle 10"/>
          <p:cNvSpPr>
            <a:spLocks noChangeArrowheads="1"/>
          </p:cNvSpPr>
          <p:nvPr/>
        </p:nvSpPr>
        <p:spPr bwMode="auto">
          <a:xfrm>
            <a:off x="4773604" y="2261802"/>
            <a:ext cx="2645993" cy="304800"/>
          </a:xfrm>
          <a:prstGeom prst="rect">
            <a:avLst/>
          </a:prstGeom>
          <a:noFill/>
          <a:ln w="12700">
            <a:noFill/>
            <a:miter lim="800000"/>
            <a:headEnd/>
            <a:tailEnd/>
          </a:ln>
        </p:spPr>
        <p:txBody>
          <a:bodyPr wrap="none" lIns="103900" tIns="103900" rIns="103900" bIns="103900"/>
          <a:lstStyle/>
          <a:p>
            <a:pPr algn="ctr"/>
            <a:r>
              <a:rPr lang="en-US" sz="1600" dirty="0">
                <a:solidFill>
                  <a:srgbClr val="7F7F7F"/>
                </a:solidFill>
                <a:sym typeface="Trebuchet MS" panose="020B0603020202020204" pitchFamily="34" charset="0"/>
              </a:rPr>
              <a:t>Business facing</a:t>
            </a:r>
          </a:p>
        </p:txBody>
      </p:sp>
      <p:sp>
        <p:nvSpPr>
          <p:cNvPr id="40" name="Rectangle 13"/>
          <p:cNvSpPr>
            <a:spLocks noChangeArrowheads="1"/>
          </p:cNvSpPr>
          <p:nvPr/>
        </p:nvSpPr>
        <p:spPr bwMode="auto">
          <a:xfrm>
            <a:off x="9979183" y="3781377"/>
            <a:ext cx="1905113" cy="304800"/>
          </a:xfrm>
          <a:prstGeom prst="rect">
            <a:avLst/>
          </a:prstGeom>
          <a:noFill/>
          <a:ln w="12700">
            <a:noFill/>
            <a:miter lim="800000"/>
            <a:headEnd/>
            <a:tailEnd/>
          </a:ln>
        </p:spPr>
        <p:txBody>
          <a:bodyPr wrap="none" lIns="103900" tIns="103900" rIns="103900" bIns="103900" anchor="ctr"/>
          <a:lstStyle/>
          <a:p>
            <a:pPr algn="r"/>
            <a:endParaRPr lang="en-US" sz="2000" dirty="0">
              <a:solidFill>
                <a:schemeClr val="tx2"/>
              </a:solidFill>
              <a:sym typeface="Trebuchet MS" panose="020B0603020202020204" pitchFamily="34" charset="0"/>
            </a:endParaRPr>
          </a:p>
        </p:txBody>
      </p:sp>
      <p:sp>
        <p:nvSpPr>
          <p:cNvPr id="41" name="Rectangle 13"/>
          <p:cNvSpPr>
            <a:spLocks noChangeArrowheads="1"/>
          </p:cNvSpPr>
          <p:nvPr/>
        </p:nvSpPr>
        <p:spPr bwMode="auto">
          <a:xfrm>
            <a:off x="10282468" y="3860320"/>
            <a:ext cx="1905113" cy="304800"/>
          </a:xfrm>
          <a:prstGeom prst="rect">
            <a:avLst/>
          </a:prstGeom>
          <a:noFill/>
          <a:ln w="12700">
            <a:noFill/>
            <a:miter lim="800000"/>
            <a:headEnd/>
            <a:tailEnd/>
          </a:ln>
        </p:spPr>
        <p:txBody>
          <a:bodyPr wrap="none" lIns="103900" tIns="103900" rIns="103900" bIns="103900" anchor="ctr"/>
          <a:lstStyle/>
          <a:p>
            <a:r>
              <a:rPr lang="en-US" sz="1600" dirty="0">
                <a:solidFill>
                  <a:srgbClr val="7F7F7F"/>
                </a:solidFill>
                <a:sym typeface="Trebuchet MS" panose="020B0603020202020204" pitchFamily="34" charset="0"/>
              </a:rPr>
              <a:t>Critique</a:t>
            </a:r>
          </a:p>
          <a:p>
            <a:r>
              <a:rPr lang="en-US" sz="1600" dirty="0">
                <a:solidFill>
                  <a:srgbClr val="7F7F7F"/>
                </a:solidFill>
                <a:sym typeface="Trebuchet MS" panose="020B0603020202020204" pitchFamily="34" charset="0"/>
              </a:rPr>
              <a:t>product</a:t>
            </a:r>
          </a:p>
        </p:txBody>
      </p:sp>
    </p:spTree>
    <p:custDataLst>
      <p:tags r:id="rId2"/>
    </p:custDataLst>
    <p:extLst>
      <p:ext uri="{BB962C8B-B14F-4D97-AF65-F5344CB8AC3E}">
        <p14:creationId xmlns:p14="http://schemas.microsoft.com/office/powerpoint/2010/main" val="1919341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2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Three main type of tests can be implemented</a:t>
            </a:r>
          </a:p>
        </p:txBody>
      </p:sp>
      <p:grpSp>
        <p:nvGrpSpPr>
          <p:cNvPr id="5" name="Group 4"/>
          <p:cNvGrpSpPr>
            <a:grpSpLocks/>
          </p:cNvGrpSpPr>
          <p:nvPr/>
        </p:nvGrpSpPr>
        <p:grpSpPr>
          <a:xfrm>
            <a:off x="662940" y="2313432"/>
            <a:ext cx="4576094" cy="3582480"/>
            <a:chOff x="4327021" y="1897930"/>
            <a:chExt cx="3537959" cy="3062141"/>
          </a:xfrm>
        </p:grpSpPr>
        <p:sp>
          <p:nvSpPr>
            <p:cNvPr id="6" name="Freeform 20"/>
            <p:cNvSpPr>
              <a:spLocks/>
            </p:cNvSpPr>
            <p:nvPr/>
          </p:nvSpPr>
          <p:spPr bwMode="auto">
            <a:xfrm>
              <a:off x="5536467" y="1897930"/>
              <a:ext cx="1119067" cy="967553"/>
            </a:xfrm>
            <a:custGeom>
              <a:avLst/>
              <a:gdLst>
                <a:gd name="T0" fmla="*/ 210 w 421"/>
                <a:gd name="T1" fmla="*/ 0 h 364"/>
                <a:gd name="T2" fmla="*/ 0 w 421"/>
                <a:gd name="T3" fmla="*/ 364 h 364"/>
                <a:gd name="T4" fmla="*/ 421 w 421"/>
                <a:gd name="T5" fmla="*/ 364 h 364"/>
                <a:gd name="T6" fmla="*/ 210 w 421"/>
                <a:gd name="T7" fmla="*/ 0 h 364"/>
              </a:gdLst>
              <a:ahLst/>
              <a:cxnLst>
                <a:cxn ang="0">
                  <a:pos x="T0" y="T1"/>
                </a:cxn>
                <a:cxn ang="0">
                  <a:pos x="T2" y="T3"/>
                </a:cxn>
                <a:cxn ang="0">
                  <a:pos x="T4" y="T5"/>
                </a:cxn>
                <a:cxn ang="0">
                  <a:pos x="T6" y="T7"/>
                </a:cxn>
              </a:cxnLst>
              <a:rect l="0" t="0" r="r" b="b"/>
              <a:pathLst>
                <a:path w="421" h="364">
                  <a:moveTo>
                    <a:pt x="210" y="0"/>
                  </a:moveTo>
                  <a:lnTo>
                    <a:pt x="0" y="364"/>
                  </a:lnTo>
                  <a:lnTo>
                    <a:pt x="421" y="364"/>
                  </a:lnTo>
                  <a:lnTo>
                    <a:pt x="21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bg1"/>
                </a:buClr>
              </a:pPr>
              <a:endParaRPr lang="en-US" sz="2000" kern="0" dirty="0"/>
            </a:p>
            <a:p>
              <a:pPr algn="ctr">
                <a:buClr>
                  <a:schemeClr val="bg1"/>
                </a:buClr>
              </a:pPr>
              <a:r>
                <a:rPr lang="en-US" sz="2000" kern="0" dirty="0"/>
                <a:t>E2E</a:t>
              </a:r>
            </a:p>
            <a:p>
              <a:pPr algn="ctr">
                <a:buClr>
                  <a:schemeClr val="bg1"/>
                </a:buClr>
              </a:pPr>
              <a:r>
                <a:rPr lang="en-US" sz="1400" kern="0" dirty="0"/>
                <a:t>10%</a:t>
              </a:r>
            </a:p>
          </p:txBody>
        </p:sp>
        <p:sp>
          <p:nvSpPr>
            <p:cNvPr id="7" name="Freeform 21"/>
            <p:cNvSpPr>
              <a:spLocks/>
            </p:cNvSpPr>
            <p:nvPr/>
          </p:nvSpPr>
          <p:spPr bwMode="auto">
            <a:xfrm>
              <a:off x="4946364" y="2971805"/>
              <a:ext cx="2296614" cy="914392"/>
            </a:xfrm>
            <a:custGeom>
              <a:avLst/>
              <a:gdLst>
                <a:gd name="T0" fmla="*/ 0 w 864"/>
                <a:gd name="T1" fmla="*/ 344 h 344"/>
                <a:gd name="T2" fmla="*/ 864 w 864"/>
                <a:gd name="T3" fmla="*/ 344 h 344"/>
                <a:gd name="T4" fmla="*/ 665 w 864"/>
                <a:gd name="T5" fmla="*/ 0 h 344"/>
                <a:gd name="T6" fmla="*/ 199 w 864"/>
                <a:gd name="T7" fmla="*/ 0 h 344"/>
                <a:gd name="T8" fmla="*/ 0 w 864"/>
                <a:gd name="T9" fmla="*/ 344 h 344"/>
              </a:gdLst>
              <a:ahLst/>
              <a:cxnLst>
                <a:cxn ang="0">
                  <a:pos x="T0" y="T1"/>
                </a:cxn>
                <a:cxn ang="0">
                  <a:pos x="T2" y="T3"/>
                </a:cxn>
                <a:cxn ang="0">
                  <a:pos x="T4" y="T5"/>
                </a:cxn>
                <a:cxn ang="0">
                  <a:pos x="T6" y="T7"/>
                </a:cxn>
                <a:cxn ang="0">
                  <a:pos x="T8" y="T9"/>
                </a:cxn>
              </a:cxnLst>
              <a:rect l="0" t="0" r="r" b="b"/>
              <a:pathLst>
                <a:path w="864" h="344">
                  <a:moveTo>
                    <a:pt x="0" y="344"/>
                  </a:moveTo>
                  <a:lnTo>
                    <a:pt x="864" y="344"/>
                  </a:lnTo>
                  <a:lnTo>
                    <a:pt x="665" y="0"/>
                  </a:lnTo>
                  <a:lnTo>
                    <a:pt x="199" y="0"/>
                  </a:lnTo>
                  <a:lnTo>
                    <a:pt x="0" y="344"/>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bg1"/>
                </a:buClr>
              </a:pPr>
              <a:r>
                <a:rPr lang="en-US" sz="2000" kern="0" dirty="0"/>
                <a:t>Integration</a:t>
              </a:r>
            </a:p>
            <a:p>
              <a:pPr algn="ctr">
                <a:buClr>
                  <a:schemeClr val="bg1"/>
                </a:buClr>
              </a:pPr>
              <a:r>
                <a:rPr lang="en-US" sz="1400" kern="0" dirty="0"/>
                <a:t>20%</a:t>
              </a:r>
            </a:p>
          </p:txBody>
        </p:sp>
        <p:sp>
          <p:nvSpPr>
            <p:cNvPr id="8" name="Freeform 22"/>
            <p:cNvSpPr>
              <a:spLocks/>
            </p:cNvSpPr>
            <p:nvPr/>
          </p:nvSpPr>
          <p:spPr bwMode="auto">
            <a:xfrm>
              <a:off x="4327021" y="3992518"/>
              <a:ext cx="3537959" cy="967553"/>
            </a:xfrm>
            <a:custGeom>
              <a:avLst/>
              <a:gdLst>
                <a:gd name="T0" fmla="*/ 0 w 1331"/>
                <a:gd name="T1" fmla="*/ 364 h 364"/>
                <a:gd name="T2" fmla="*/ 1331 w 1331"/>
                <a:gd name="T3" fmla="*/ 364 h 364"/>
                <a:gd name="T4" fmla="*/ 1120 w 1331"/>
                <a:gd name="T5" fmla="*/ 0 h 364"/>
                <a:gd name="T6" fmla="*/ 210 w 1331"/>
                <a:gd name="T7" fmla="*/ 0 h 364"/>
                <a:gd name="T8" fmla="*/ 0 w 1331"/>
                <a:gd name="T9" fmla="*/ 364 h 364"/>
              </a:gdLst>
              <a:ahLst/>
              <a:cxnLst>
                <a:cxn ang="0">
                  <a:pos x="T0" y="T1"/>
                </a:cxn>
                <a:cxn ang="0">
                  <a:pos x="T2" y="T3"/>
                </a:cxn>
                <a:cxn ang="0">
                  <a:pos x="T4" y="T5"/>
                </a:cxn>
                <a:cxn ang="0">
                  <a:pos x="T6" y="T7"/>
                </a:cxn>
                <a:cxn ang="0">
                  <a:pos x="T8" y="T9"/>
                </a:cxn>
              </a:cxnLst>
              <a:rect l="0" t="0" r="r" b="b"/>
              <a:pathLst>
                <a:path w="1331" h="364">
                  <a:moveTo>
                    <a:pt x="0" y="364"/>
                  </a:moveTo>
                  <a:lnTo>
                    <a:pt x="1331" y="364"/>
                  </a:lnTo>
                  <a:lnTo>
                    <a:pt x="1120" y="0"/>
                  </a:lnTo>
                  <a:lnTo>
                    <a:pt x="210" y="0"/>
                  </a:lnTo>
                  <a:lnTo>
                    <a:pt x="0" y="364"/>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bg1"/>
                </a:buClr>
              </a:pPr>
              <a:r>
                <a:rPr lang="en-US" sz="2000" kern="0" dirty="0"/>
                <a:t>Unit</a:t>
              </a:r>
            </a:p>
            <a:p>
              <a:pPr algn="ctr">
                <a:buClr>
                  <a:schemeClr val="bg1"/>
                </a:buClr>
              </a:pPr>
              <a:r>
                <a:rPr lang="en-US" sz="1400" kern="0" dirty="0"/>
                <a:t>70%</a:t>
              </a:r>
            </a:p>
          </p:txBody>
        </p:sp>
      </p:grpSp>
      <p:sp>
        <p:nvSpPr>
          <p:cNvPr id="9" name="TextBox 8"/>
          <p:cNvSpPr txBox="1"/>
          <p:nvPr/>
        </p:nvSpPr>
        <p:spPr>
          <a:xfrm>
            <a:off x="5307614" y="4750868"/>
            <a:ext cx="6172678" cy="11659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Level of software testing where </a:t>
            </a:r>
            <a:r>
              <a:rPr lang="en-US" sz="1400" dirty="0">
                <a:solidFill>
                  <a:srgbClr val="29BA74"/>
                </a:solidFill>
              </a:rPr>
              <a:t>individual units/components </a:t>
            </a:r>
            <a:r>
              <a:rPr lang="en-US" sz="1400" dirty="0">
                <a:solidFill>
                  <a:srgbClr val="575757"/>
                </a:solidFill>
              </a:rPr>
              <a:t>of a software (the smallest possible, e.g. a function or a class) are tested in order to validate that each of them </a:t>
            </a:r>
            <a:r>
              <a:rPr lang="en-US" sz="1400" dirty="0">
                <a:solidFill>
                  <a:srgbClr val="29BA74"/>
                </a:solidFill>
              </a:rPr>
              <a:t>performs as designed</a:t>
            </a:r>
          </a:p>
        </p:txBody>
      </p:sp>
      <p:sp>
        <p:nvSpPr>
          <p:cNvPr id="10" name="TextBox 9"/>
          <p:cNvSpPr txBox="1"/>
          <p:nvPr/>
        </p:nvSpPr>
        <p:spPr>
          <a:xfrm>
            <a:off x="5307614" y="3473620"/>
            <a:ext cx="6172678" cy="11659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Level of software testing where individual units of a software are tested as a </a:t>
            </a:r>
            <a:r>
              <a:rPr lang="en-US" sz="1400" dirty="0">
                <a:solidFill>
                  <a:srgbClr val="29BA74"/>
                </a:solidFill>
              </a:rPr>
              <a:t>group </a:t>
            </a:r>
            <a:r>
              <a:rPr lang="en-US" sz="1400" dirty="0">
                <a:solidFill>
                  <a:srgbClr val="575757"/>
                </a:solidFill>
              </a:rPr>
              <a:t>in order to expose faults in the </a:t>
            </a:r>
            <a:r>
              <a:rPr lang="en-US" sz="1400" dirty="0">
                <a:solidFill>
                  <a:srgbClr val="29BA74"/>
                </a:solidFill>
              </a:rPr>
              <a:t>interaction </a:t>
            </a:r>
            <a:r>
              <a:rPr lang="en-US" sz="1400" dirty="0">
                <a:solidFill>
                  <a:srgbClr val="575757"/>
                </a:solidFill>
              </a:rPr>
              <a:t>between integrated units e.g. black box testing, white box testing, gray box testing</a:t>
            </a:r>
            <a:endParaRPr lang="en-US" sz="1400" dirty="0">
              <a:solidFill>
                <a:srgbClr val="29BA74"/>
              </a:solidFill>
            </a:endParaRPr>
          </a:p>
        </p:txBody>
      </p:sp>
      <p:sp>
        <p:nvSpPr>
          <p:cNvPr id="11" name="TextBox 10"/>
          <p:cNvSpPr txBox="1"/>
          <p:nvPr/>
        </p:nvSpPr>
        <p:spPr>
          <a:xfrm>
            <a:off x="5239034" y="2352890"/>
            <a:ext cx="6172678" cy="11659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Level of software testing where the </a:t>
            </a:r>
            <a:r>
              <a:rPr lang="en-US" sz="1400" dirty="0">
                <a:solidFill>
                  <a:srgbClr val="29BA74"/>
                </a:solidFill>
              </a:rPr>
              <a:t>whole software flow </a:t>
            </a:r>
            <a:r>
              <a:rPr lang="en-US" sz="1400" dirty="0">
                <a:solidFill>
                  <a:srgbClr val="575757"/>
                </a:solidFill>
              </a:rPr>
              <a:t>is tested from start to end in order to </a:t>
            </a:r>
            <a:r>
              <a:rPr lang="en-US" sz="1400" dirty="0">
                <a:solidFill>
                  <a:srgbClr val="29BA74"/>
                </a:solidFill>
              </a:rPr>
              <a:t>simulate the real user scenario </a:t>
            </a:r>
            <a:r>
              <a:rPr lang="en-US" sz="1400" dirty="0">
                <a:solidFill>
                  <a:srgbClr val="575757"/>
                </a:solidFill>
              </a:rPr>
              <a:t>and make sure it performs as expected</a:t>
            </a:r>
          </a:p>
        </p:txBody>
      </p:sp>
    </p:spTree>
    <p:custDataLst>
      <p:tags r:id="rId2"/>
    </p:custDataLst>
    <p:extLst>
      <p:ext uri="{BB962C8B-B14F-4D97-AF65-F5344CB8AC3E}">
        <p14:creationId xmlns:p14="http://schemas.microsoft.com/office/powerpoint/2010/main" val="290212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44" name="think-cell Slide" r:id="rId17" imgW="473" imgH="473" progId="TCLayout.ActiveDocument.1">
                  <p:embed/>
                </p:oleObj>
              </mc:Choice>
              <mc:Fallback>
                <p:oleObj name="think-cell Slide" r:id="rId17" imgW="473" imgH="473"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05" name="CustomShape 1" hidden="1"/>
          <p:cNvSpPr/>
          <p:nvPr/>
        </p:nvSpPr>
        <p:spPr>
          <a:xfrm>
            <a:off x="0" y="0"/>
            <a:ext cx="158040" cy="158040"/>
          </a:xfrm>
          <a:prstGeom prst="rect">
            <a:avLst/>
          </a:prstGeom>
          <a:solidFill>
            <a:srgbClr val="29BA74"/>
          </a:solidFill>
          <a:ln w="9360">
            <a:solidFill>
              <a:srgbClr val="29BA74"/>
            </a:solidFill>
            <a:round/>
          </a:ln>
        </p:spPr>
        <p:style>
          <a:lnRef idx="0">
            <a:scrgbClr r="0" g="0" b="0"/>
          </a:lnRef>
          <a:fillRef idx="0">
            <a:scrgbClr r="0" g="0" b="0"/>
          </a:fillRef>
          <a:effectRef idx="0">
            <a:scrgbClr r="0" g="0" b="0"/>
          </a:effectRef>
          <a:fontRef idx="minor"/>
        </p:style>
        <p:txBody>
          <a:bodyPr/>
          <a:lstStyle/>
          <a:p>
            <a:endParaRPr lang="en-US" dirty="0"/>
          </a:p>
        </p:txBody>
      </p:sp>
      <p:sp>
        <p:nvSpPr>
          <p:cNvPr id="306" name="CustomShape 2"/>
          <p:cNvSpPr/>
          <p:nvPr/>
        </p:nvSpPr>
        <p:spPr>
          <a:xfrm>
            <a:off x="619118" y="1198925"/>
            <a:ext cx="3127320" cy="882288"/>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lstStyle/>
          <a:p>
            <a:pPr>
              <a:lnSpc>
                <a:spcPct val="90000"/>
              </a:lnSpc>
            </a:pPr>
            <a:r>
              <a:rPr lang="en-US" sz="3200" b="0" strike="noStrike" spc="-1" dirty="0">
                <a:solidFill>
                  <a:srgbClr val="FFFFFF"/>
                </a:solidFill>
                <a:latin typeface="Trebuchet MS"/>
              </a:rPr>
              <a:t>Test</a:t>
            </a:r>
            <a:r>
              <a:rPr lang="en-US" dirty="0"/>
              <a:t> </a:t>
            </a:r>
            <a:r>
              <a:rPr lang="en-US" sz="3200" b="0" strike="noStrike" spc="-1" dirty="0">
                <a:solidFill>
                  <a:srgbClr val="FFFFFF"/>
                </a:solidFill>
                <a:latin typeface="Trebuchet MS"/>
              </a:rPr>
              <a:t>driven</a:t>
            </a:r>
            <a:r>
              <a:rPr lang="en-US" dirty="0"/>
              <a:t> </a:t>
            </a:r>
            <a:r>
              <a:rPr lang="en-US" sz="3200" b="0" strike="noStrike" spc="-1" dirty="0">
                <a:solidFill>
                  <a:srgbClr val="FFFFFF"/>
                </a:solidFill>
                <a:latin typeface="Trebuchet MS"/>
              </a:rPr>
              <a:t>development</a:t>
            </a:r>
            <a:endParaRPr lang="en-US" sz="3200" b="0" strike="noStrike" spc="-1" dirty="0">
              <a:latin typeface="Arial"/>
            </a:endParaRPr>
          </a:p>
        </p:txBody>
      </p:sp>
      <p:sp>
        <p:nvSpPr>
          <p:cNvPr id="307" name="CustomShape 3"/>
          <p:cNvSpPr/>
          <p:nvPr/>
        </p:nvSpPr>
        <p:spPr>
          <a:xfrm>
            <a:off x="541210" y="2155824"/>
            <a:ext cx="3165120" cy="44010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r>
              <a:rPr lang="en-US" sz="1800" b="0" strike="noStrike" spc="-1" dirty="0">
                <a:solidFill>
                  <a:srgbClr val="FFFFFF"/>
                </a:solidFill>
                <a:latin typeface="Trebuchet MS"/>
                <a:ea typeface="DejaVu Sans"/>
              </a:rPr>
              <a:t>Development process that relies on the parallel development of code &amp; related tests.</a:t>
            </a:r>
            <a:endParaRPr lang="en-US" sz="1800" b="0" strike="noStrike" spc="-1" dirty="0">
              <a:latin typeface="Arial"/>
            </a:endParaRPr>
          </a:p>
          <a:p>
            <a:pPr>
              <a:lnSpc>
                <a:spcPct val="100000"/>
              </a:lnSpc>
            </a:pPr>
            <a:endParaRPr lang="en-US" sz="1800" b="0" strike="noStrike" spc="-1" dirty="0">
              <a:latin typeface="Arial"/>
            </a:endParaRPr>
          </a:p>
          <a:p>
            <a:pPr>
              <a:lnSpc>
                <a:spcPct val="100000"/>
              </a:lnSpc>
            </a:pPr>
            <a:endParaRPr lang="en-US" sz="1800" b="0" strike="noStrike" spc="-1" dirty="0">
              <a:latin typeface="Arial"/>
            </a:endParaRPr>
          </a:p>
          <a:p>
            <a:pPr marL="324000" lvl="1" indent="-216000">
              <a:buClr>
                <a:schemeClr val="tx2">
                  <a:lumMod val="100000"/>
                </a:schemeClr>
              </a:buClr>
              <a:buSzPct val="100000"/>
              <a:buFont typeface="Trebuchet MS" panose="020B0603020202020204" pitchFamily="34" charset="0"/>
              <a:buChar char="•"/>
            </a:pPr>
            <a:r>
              <a:rPr lang="en-US" b="0" strike="noStrike" spc="-1" dirty="0">
                <a:solidFill>
                  <a:srgbClr val="FFFFFF"/>
                </a:solidFill>
                <a:latin typeface="Trebuchet MS"/>
                <a:ea typeface="DejaVu Sans"/>
              </a:rPr>
              <a:t>Aut</a:t>
            </a:r>
            <a:r>
              <a:rPr lang="en-US" b="0" strike="noStrike" dirty="0">
                <a:solidFill>
                  <a:srgbClr val="FFFFFF"/>
                </a:solidFill>
                <a:latin typeface="Trebuchet MS" panose="020B0603020202020204" pitchFamily="34" charset="0"/>
                <a:ea typeface="DejaVu Sans"/>
              </a:rPr>
              <a:t>omating your test harness</a:t>
            </a:r>
            <a:endParaRPr lang="en-US" b="0" strike="noStrike" dirty="0">
              <a:solidFill>
                <a:srgbClr val="FFFFFF"/>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b="0" strike="noStrike" dirty="0">
                <a:solidFill>
                  <a:srgbClr val="FFFFFF"/>
                </a:solidFill>
                <a:latin typeface="Trebuchet MS" panose="020B0603020202020204" pitchFamily="34" charset="0"/>
                <a:ea typeface="DejaVu Sans"/>
              </a:rPr>
              <a:t>Raising your confidence in your code</a:t>
            </a:r>
            <a:endParaRPr lang="en-US" b="0" strike="noStrike" dirty="0">
              <a:solidFill>
                <a:srgbClr val="FFFFFF"/>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b="0" strike="noStrike" dirty="0">
                <a:solidFill>
                  <a:srgbClr val="FFFFFF"/>
                </a:solidFill>
                <a:latin typeface="Trebuchet MS" panose="020B0603020202020204" pitchFamily="34" charset="0"/>
                <a:ea typeface="DejaVu Sans"/>
              </a:rPr>
              <a:t>Allowing you to refactor without stress</a:t>
            </a:r>
            <a:endParaRPr lang="en-US" b="0" strike="noStrike" dirty="0">
              <a:solidFill>
                <a:srgbClr val="FFFFFF"/>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b="0" strike="noStrike" dirty="0">
                <a:solidFill>
                  <a:srgbClr val="FFFFFF"/>
                </a:solidFill>
                <a:latin typeface="Trebuchet MS" panose="020B0603020202020204" pitchFamily="34" charset="0"/>
                <a:ea typeface="DejaVu Sans"/>
              </a:rPr>
              <a:t>Imp</a:t>
            </a:r>
            <a:r>
              <a:rPr lang="en-US" b="0" strike="noStrike" spc="-1" dirty="0">
                <a:solidFill>
                  <a:srgbClr val="FFFFFF"/>
                </a:solidFill>
                <a:latin typeface="Trebuchet MS"/>
                <a:ea typeface="DejaVu Sans"/>
              </a:rPr>
              <a:t>roving code quality</a:t>
            </a:r>
            <a:endParaRPr lang="en-US" b="0" strike="noStrike" spc="-1" dirty="0">
              <a:solidFill>
                <a:srgbClr val="FFFFFF"/>
              </a:solidFill>
              <a:latin typeface="Arial"/>
            </a:endParaRPr>
          </a:p>
        </p:txBody>
      </p:sp>
      <p:pic>
        <p:nvPicPr>
          <p:cNvPr id="308" name="Picture 307"/>
          <p:cNvPicPr/>
          <p:nvPr/>
        </p:nvPicPr>
        <p:blipFill>
          <a:blip r:embed="rId19"/>
          <a:stretch/>
        </p:blipFill>
        <p:spPr>
          <a:xfrm>
            <a:off x="360" y="0"/>
            <a:ext cx="360" cy="360"/>
          </a:xfrm>
          <a:prstGeom prst="rect">
            <a:avLst/>
          </a:prstGeom>
          <a:ln>
            <a:noFill/>
          </a:ln>
        </p:spPr>
      </p:pic>
      <p:grpSp>
        <p:nvGrpSpPr>
          <p:cNvPr id="31" name="Group 30"/>
          <p:cNvGrpSpPr/>
          <p:nvPr/>
        </p:nvGrpSpPr>
        <p:grpSpPr>
          <a:xfrm>
            <a:off x="5706741" y="1388267"/>
            <a:ext cx="4079999" cy="4081463"/>
            <a:chOff x="4056001" y="1780305"/>
            <a:chExt cx="4079999" cy="4081463"/>
          </a:xfrm>
        </p:grpSpPr>
        <p:sp>
          <p:nvSpPr>
            <p:cNvPr id="32" name="CircleSegment"/>
            <p:cNvSpPr>
              <a:spLocks/>
            </p:cNvSpPr>
            <p:nvPr>
              <p:custDataLst>
                <p:tags r:id="rId3"/>
              </p:custDataLst>
            </p:nvPr>
          </p:nvSpPr>
          <p:spPr bwMode="gray">
            <a:xfrm>
              <a:off x="6096000" y="1780305"/>
              <a:ext cx="1766943" cy="1541463"/>
            </a:xfrm>
            <a:custGeom>
              <a:avLst/>
              <a:gdLst>
                <a:gd name="T0" fmla="*/ 0 w 1120"/>
                <a:gd name="T1" fmla="*/ 0 h 975"/>
                <a:gd name="T2" fmla="*/ 0 w 1120"/>
                <a:gd name="T3" fmla="*/ 0 h 975"/>
                <a:gd name="T4" fmla="*/ 0 w 1120"/>
                <a:gd name="T5" fmla="*/ 0 h 975"/>
                <a:gd name="T6" fmla="*/ 2147483647 w 1120"/>
                <a:gd name="T7" fmla="*/ 0 h 975"/>
                <a:gd name="T8" fmla="*/ 2147483647 w 1120"/>
                <a:gd name="T9" fmla="*/ 2147483647 h 975"/>
                <a:gd name="T10" fmla="*/ 2147483647 w 1120"/>
                <a:gd name="T11" fmla="*/ 2147483647 h 975"/>
                <a:gd name="T12" fmla="*/ 2147483647 w 1120"/>
                <a:gd name="T13" fmla="*/ 2147483647 h 975"/>
                <a:gd name="T14" fmla="*/ 2147483647 w 1120"/>
                <a:gd name="T15" fmla="*/ 2147483647 h 975"/>
                <a:gd name="T16" fmla="*/ 2147483647 w 1120"/>
                <a:gd name="T17" fmla="*/ 2147483647 h 975"/>
                <a:gd name="T18" fmla="*/ 2147483647 w 1120"/>
                <a:gd name="T19" fmla="*/ 2147483647 h 975"/>
                <a:gd name="T20" fmla="*/ 2147483647 w 1120"/>
                <a:gd name="T21" fmla="*/ 2147483647 h 975"/>
                <a:gd name="T22" fmla="*/ 2147483647 w 1120"/>
                <a:gd name="T23" fmla="*/ 2147483647 h 975"/>
                <a:gd name="T24" fmla="*/ 2147483647 w 1120"/>
                <a:gd name="T25" fmla="*/ 2147483647 h 975"/>
                <a:gd name="T26" fmla="*/ 2147483647 w 1120"/>
                <a:gd name="T27" fmla="*/ 2147483647 h 975"/>
                <a:gd name="T28" fmla="*/ 2147483647 w 1120"/>
                <a:gd name="T29" fmla="*/ 2147483647 h 975"/>
                <a:gd name="T30" fmla="*/ 2147483647 w 1120"/>
                <a:gd name="T31" fmla="*/ 2147483647 h 975"/>
                <a:gd name="T32" fmla="*/ 2147483647 w 1120"/>
                <a:gd name="T33" fmla="*/ 2147483647 h 975"/>
                <a:gd name="T34" fmla="*/ 2147483647 w 1120"/>
                <a:gd name="T35" fmla="*/ 2147483647 h 975"/>
                <a:gd name="T36" fmla="*/ 2147483647 w 1120"/>
                <a:gd name="T37" fmla="*/ 2147483647 h 975"/>
                <a:gd name="T38" fmla="*/ 2147483647 w 1120"/>
                <a:gd name="T39" fmla="*/ 2147483647 h 975"/>
                <a:gd name="T40" fmla="*/ 2147483647 w 1120"/>
                <a:gd name="T41" fmla="*/ 2147483647 h 975"/>
                <a:gd name="T42" fmla="*/ 2147483647 w 1120"/>
                <a:gd name="T43" fmla="*/ 2147483647 h 975"/>
                <a:gd name="T44" fmla="*/ 2147483647 w 1120"/>
                <a:gd name="T45" fmla="*/ 2147483647 h 975"/>
                <a:gd name="T46" fmla="*/ 2147483647 w 1120"/>
                <a:gd name="T47" fmla="*/ 2147483647 h 975"/>
                <a:gd name="T48" fmla="*/ 2147483647 w 1120"/>
                <a:gd name="T49" fmla="*/ 2147483647 h 975"/>
                <a:gd name="T50" fmla="*/ 2147483647 w 1120"/>
                <a:gd name="T51" fmla="*/ 2147483647 h 975"/>
                <a:gd name="T52" fmla="*/ 2147483647 w 1120"/>
                <a:gd name="T53" fmla="*/ 2147483647 h 975"/>
                <a:gd name="T54" fmla="*/ 2147483647 w 1120"/>
                <a:gd name="T55" fmla="*/ 2147483647 h 975"/>
                <a:gd name="T56" fmla="*/ 2147483647 w 1120"/>
                <a:gd name="T57" fmla="*/ 2147483647 h 975"/>
                <a:gd name="T58" fmla="*/ 2147483647 w 1120"/>
                <a:gd name="T59" fmla="*/ 2147483647 h 975"/>
                <a:gd name="T60" fmla="*/ 2147483647 w 1120"/>
                <a:gd name="T61" fmla="*/ 2147483647 h 975"/>
                <a:gd name="T62" fmla="*/ 2147483647 w 1120"/>
                <a:gd name="T63" fmla="*/ 2147483647 h 975"/>
                <a:gd name="T64" fmla="*/ 2147483647 w 1120"/>
                <a:gd name="T65" fmla="*/ 2147483647 h 975"/>
                <a:gd name="T66" fmla="*/ 2147483647 w 1120"/>
                <a:gd name="T67" fmla="*/ 2147483647 h 975"/>
                <a:gd name="T68" fmla="*/ 2147483647 w 1120"/>
                <a:gd name="T69" fmla="*/ 2147483647 h 975"/>
                <a:gd name="T70" fmla="*/ 2147483647 w 1120"/>
                <a:gd name="T71" fmla="*/ 2147483647 h 975"/>
                <a:gd name="T72" fmla="*/ 2147483647 w 1120"/>
                <a:gd name="T73" fmla="*/ 2147483647 h 975"/>
                <a:gd name="T74" fmla="*/ 2147483647 w 1120"/>
                <a:gd name="T75" fmla="*/ 2147483647 h 975"/>
                <a:gd name="T76" fmla="*/ 2147483647 w 1120"/>
                <a:gd name="T77" fmla="*/ 2147483647 h 975"/>
                <a:gd name="T78" fmla="*/ 2147483647 w 1120"/>
                <a:gd name="T79" fmla="*/ 2147483647 h 975"/>
                <a:gd name="T80" fmla="*/ 2147483647 w 1120"/>
                <a:gd name="T81" fmla="*/ 2147483647 h 975"/>
                <a:gd name="T82" fmla="*/ 2147483647 w 1120"/>
                <a:gd name="T83" fmla="*/ 2147483647 h 975"/>
                <a:gd name="T84" fmla="*/ 2147483647 w 1120"/>
                <a:gd name="T85" fmla="*/ 2147483647 h 975"/>
                <a:gd name="T86" fmla="*/ 2147483647 w 1120"/>
                <a:gd name="T87" fmla="*/ 2147483647 h 975"/>
                <a:gd name="T88" fmla="*/ 2147483647 w 1120"/>
                <a:gd name="T89" fmla="*/ 2147483647 h 975"/>
                <a:gd name="T90" fmla="*/ 2147483647 w 1120"/>
                <a:gd name="T91" fmla="*/ 2147483647 h 975"/>
                <a:gd name="T92" fmla="*/ 2147483647 w 1120"/>
                <a:gd name="T93" fmla="*/ 2147483647 h 975"/>
                <a:gd name="T94" fmla="*/ 2147483647 w 1120"/>
                <a:gd name="T95" fmla="*/ 2147483647 h 975"/>
                <a:gd name="T96" fmla="*/ 2147483647 w 1120"/>
                <a:gd name="T97" fmla="*/ 2147483647 h 975"/>
                <a:gd name="T98" fmla="*/ 2147483647 w 1120"/>
                <a:gd name="T99" fmla="*/ 2147483647 h 975"/>
                <a:gd name="T100" fmla="*/ 2147483647 w 1120"/>
                <a:gd name="T101" fmla="*/ 2147483647 h 975"/>
                <a:gd name="T102" fmla="*/ 2147483647 w 1120"/>
                <a:gd name="T103" fmla="*/ 2147483647 h 975"/>
                <a:gd name="T104" fmla="*/ 2147483647 w 1120"/>
                <a:gd name="T105" fmla="*/ 2147483647 h 975"/>
                <a:gd name="T106" fmla="*/ 2147483647 w 1120"/>
                <a:gd name="T107" fmla="*/ 2147483647 h 975"/>
                <a:gd name="T108" fmla="*/ 0 w 1120"/>
                <a:gd name="T109" fmla="*/ 2147483647 h 975"/>
                <a:gd name="T110" fmla="*/ 0 w 1120"/>
                <a:gd name="T111" fmla="*/ 2147483647 h 975"/>
                <a:gd name="T112" fmla="*/ 0 w 1120"/>
                <a:gd name="T113" fmla="*/ 2147483647 h 975"/>
                <a:gd name="T114" fmla="*/ 2147483647 w 1120"/>
                <a:gd name="T115" fmla="*/ 2147483647 h 975"/>
                <a:gd name="T116" fmla="*/ 0 w 1120"/>
                <a:gd name="T117" fmla="*/ 0 h 97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20"/>
                <a:gd name="T178" fmla="*/ 0 h 975"/>
                <a:gd name="T179" fmla="*/ 1120 w 1120"/>
                <a:gd name="T180" fmla="*/ 975 h 97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20" h="975">
                  <a:moveTo>
                    <a:pt x="0" y="0"/>
                  </a:moveTo>
                  <a:lnTo>
                    <a:pt x="0" y="0"/>
                  </a:lnTo>
                  <a:lnTo>
                    <a:pt x="46" y="0"/>
                  </a:lnTo>
                  <a:lnTo>
                    <a:pt x="90" y="2"/>
                  </a:lnTo>
                  <a:lnTo>
                    <a:pt x="132" y="6"/>
                  </a:lnTo>
                  <a:lnTo>
                    <a:pt x="176" y="12"/>
                  </a:lnTo>
                  <a:lnTo>
                    <a:pt x="219" y="20"/>
                  </a:lnTo>
                  <a:lnTo>
                    <a:pt x="261" y="27"/>
                  </a:lnTo>
                  <a:lnTo>
                    <a:pt x="303" y="37"/>
                  </a:lnTo>
                  <a:lnTo>
                    <a:pt x="346" y="46"/>
                  </a:lnTo>
                  <a:lnTo>
                    <a:pt x="386" y="60"/>
                  </a:lnTo>
                  <a:lnTo>
                    <a:pt x="426" y="73"/>
                  </a:lnTo>
                  <a:lnTo>
                    <a:pt x="467" y="87"/>
                  </a:lnTo>
                  <a:lnTo>
                    <a:pt x="505" y="104"/>
                  </a:lnTo>
                  <a:lnTo>
                    <a:pt x="544" y="121"/>
                  </a:lnTo>
                  <a:lnTo>
                    <a:pt x="582" y="139"/>
                  </a:lnTo>
                  <a:lnTo>
                    <a:pt x="619" y="158"/>
                  </a:lnTo>
                  <a:lnTo>
                    <a:pt x="655" y="179"/>
                  </a:lnTo>
                  <a:lnTo>
                    <a:pt x="690" y="200"/>
                  </a:lnTo>
                  <a:lnTo>
                    <a:pt x="726" y="223"/>
                  </a:lnTo>
                  <a:lnTo>
                    <a:pt x="759" y="248"/>
                  </a:lnTo>
                  <a:lnTo>
                    <a:pt x="794" y="273"/>
                  </a:lnTo>
                  <a:lnTo>
                    <a:pt x="824" y="300"/>
                  </a:lnTo>
                  <a:lnTo>
                    <a:pt x="857" y="327"/>
                  </a:lnTo>
                  <a:lnTo>
                    <a:pt x="888" y="354"/>
                  </a:lnTo>
                  <a:lnTo>
                    <a:pt x="917" y="382"/>
                  </a:lnTo>
                  <a:lnTo>
                    <a:pt x="945" y="413"/>
                  </a:lnTo>
                  <a:lnTo>
                    <a:pt x="974" y="444"/>
                  </a:lnTo>
                  <a:lnTo>
                    <a:pt x="1001" y="476"/>
                  </a:lnTo>
                  <a:lnTo>
                    <a:pt x="1026" y="509"/>
                  </a:lnTo>
                  <a:lnTo>
                    <a:pt x="1051" y="542"/>
                  </a:lnTo>
                  <a:lnTo>
                    <a:pt x="1076" y="576"/>
                  </a:lnTo>
                  <a:lnTo>
                    <a:pt x="1097" y="611"/>
                  </a:lnTo>
                  <a:lnTo>
                    <a:pt x="1120" y="647"/>
                  </a:lnTo>
                  <a:lnTo>
                    <a:pt x="1118" y="647"/>
                  </a:lnTo>
                  <a:lnTo>
                    <a:pt x="899" y="923"/>
                  </a:lnTo>
                  <a:lnTo>
                    <a:pt x="549" y="975"/>
                  </a:lnTo>
                  <a:lnTo>
                    <a:pt x="553" y="973"/>
                  </a:lnTo>
                  <a:lnTo>
                    <a:pt x="530" y="937"/>
                  </a:lnTo>
                  <a:lnTo>
                    <a:pt x="507" y="904"/>
                  </a:lnTo>
                  <a:lnTo>
                    <a:pt x="480" y="874"/>
                  </a:lnTo>
                  <a:lnTo>
                    <a:pt x="453" y="843"/>
                  </a:lnTo>
                  <a:lnTo>
                    <a:pt x="422" y="814"/>
                  </a:lnTo>
                  <a:lnTo>
                    <a:pt x="392" y="789"/>
                  </a:lnTo>
                  <a:lnTo>
                    <a:pt x="359" y="764"/>
                  </a:lnTo>
                  <a:lnTo>
                    <a:pt x="322" y="741"/>
                  </a:lnTo>
                  <a:lnTo>
                    <a:pt x="288" y="722"/>
                  </a:lnTo>
                  <a:lnTo>
                    <a:pt x="249" y="705"/>
                  </a:lnTo>
                  <a:lnTo>
                    <a:pt x="211" y="689"/>
                  </a:lnTo>
                  <a:lnTo>
                    <a:pt x="171" y="676"/>
                  </a:lnTo>
                  <a:lnTo>
                    <a:pt x="128" y="666"/>
                  </a:lnTo>
                  <a:lnTo>
                    <a:pt x="86" y="659"/>
                  </a:lnTo>
                  <a:lnTo>
                    <a:pt x="44" y="655"/>
                  </a:lnTo>
                  <a:lnTo>
                    <a:pt x="0" y="653"/>
                  </a:lnTo>
                  <a:lnTo>
                    <a:pt x="128" y="327"/>
                  </a:lnTo>
                  <a:lnTo>
                    <a:pt x="0" y="0"/>
                  </a:lnTo>
                </a:path>
              </a:pathLst>
            </a:custGeom>
            <a:solidFill>
              <a:schemeClr val="tx2"/>
            </a:solidFill>
            <a:ln w="317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3" name="CircleSegment"/>
            <p:cNvSpPr>
              <a:spLocks/>
            </p:cNvSpPr>
            <p:nvPr>
              <p:custDataLst>
                <p:tags r:id="rId4"/>
              </p:custDataLst>
            </p:nvPr>
          </p:nvSpPr>
          <p:spPr bwMode="gray">
            <a:xfrm>
              <a:off x="6965976" y="2802654"/>
              <a:ext cx="1170024" cy="2041525"/>
            </a:xfrm>
            <a:custGeom>
              <a:avLst/>
              <a:gdLst>
                <a:gd name="T0" fmla="*/ 2147483647 w 742"/>
                <a:gd name="T1" fmla="*/ 0 h 1292"/>
                <a:gd name="T2" fmla="*/ 2147483647 w 742"/>
                <a:gd name="T3" fmla="*/ 2147483647 h 1292"/>
                <a:gd name="T4" fmla="*/ 2147483647 w 742"/>
                <a:gd name="T5" fmla="*/ 2147483647 h 1292"/>
                <a:gd name="T6" fmla="*/ 2147483647 w 742"/>
                <a:gd name="T7" fmla="*/ 2147483647 h 1292"/>
                <a:gd name="T8" fmla="*/ 2147483647 w 742"/>
                <a:gd name="T9" fmla="*/ 2147483647 h 1292"/>
                <a:gd name="T10" fmla="*/ 2147483647 w 742"/>
                <a:gd name="T11" fmla="*/ 2147483647 h 1292"/>
                <a:gd name="T12" fmla="*/ 2147483647 w 742"/>
                <a:gd name="T13" fmla="*/ 2147483647 h 1292"/>
                <a:gd name="T14" fmla="*/ 2147483647 w 742"/>
                <a:gd name="T15" fmla="*/ 2147483647 h 1292"/>
                <a:gd name="T16" fmla="*/ 2147483647 w 742"/>
                <a:gd name="T17" fmla="*/ 2147483647 h 1292"/>
                <a:gd name="T18" fmla="*/ 2147483647 w 742"/>
                <a:gd name="T19" fmla="*/ 2147483647 h 1292"/>
                <a:gd name="T20" fmla="*/ 2147483647 w 742"/>
                <a:gd name="T21" fmla="*/ 2147483647 h 1292"/>
                <a:gd name="T22" fmla="*/ 2147483647 w 742"/>
                <a:gd name="T23" fmla="*/ 2147483647 h 1292"/>
                <a:gd name="T24" fmla="*/ 2147483647 w 742"/>
                <a:gd name="T25" fmla="*/ 2147483647 h 1292"/>
                <a:gd name="T26" fmla="*/ 2147483647 w 742"/>
                <a:gd name="T27" fmla="*/ 2147483647 h 1292"/>
                <a:gd name="T28" fmla="*/ 2147483647 w 742"/>
                <a:gd name="T29" fmla="*/ 2147483647 h 1292"/>
                <a:gd name="T30" fmla="*/ 2147483647 w 742"/>
                <a:gd name="T31" fmla="*/ 2147483647 h 1292"/>
                <a:gd name="T32" fmla="*/ 2147483647 w 742"/>
                <a:gd name="T33" fmla="*/ 2147483647 h 1292"/>
                <a:gd name="T34" fmla="*/ 2147483647 w 742"/>
                <a:gd name="T35" fmla="*/ 2147483647 h 1292"/>
                <a:gd name="T36" fmla="*/ 2147483647 w 742"/>
                <a:gd name="T37" fmla="*/ 2147483647 h 1292"/>
                <a:gd name="T38" fmla="*/ 2147483647 w 742"/>
                <a:gd name="T39" fmla="*/ 2147483647 h 1292"/>
                <a:gd name="T40" fmla="*/ 2147483647 w 742"/>
                <a:gd name="T41" fmla="*/ 2147483647 h 1292"/>
                <a:gd name="T42" fmla="*/ 2147483647 w 742"/>
                <a:gd name="T43" fmla="*/ 2147483647 h 1292"/>
                <a:gd name="T44" fmla="*/ 2147483647 w 742"/>
                <a:gd name="T45" fmla="*/ 2147483647 h 1292"/>
                <a:gd name="T46" fmla="*/ 0 w 742"/>
                <a:gd name="T47" fmla="*/ 2147483647 h 1292"/>
                <a:gd name="T48" fmla="*/ 2147483647 w 742"/>
                <a:gd name="T49" fmla="*/ 2147483647 h 1292"/>
                <a:gd name="T50" fmla="*/ 2147483647 w 742"/>
                <a:gd name="T51" fmla="*/ 2147483647 h 1292"/>
                <a:gd name="T52" fmla="*/ 2147483647 w 742"/>
                <a:gd name="T53" fmla="*/ 2147483647 h 1292"/>
                <a:gd name="T54" fmla="*/ 2147483647 w 742"/>
                <a:gd name="T55" fmla="*/ 2147483647 h 1292"/>
                <a:gd name="T56" fmla="*/ 2147483647 w 742"/>
                <a:gd name="T57" fmla="*/ 2147483647 h 1292"/>
                <a:gd name="T58" fmla="*/ 2147483647 w 742"/>
                <a:gd name="T59" fmla="*/ 2147483647 h 1292"/>
                <a:gd name="T60" fmla="*/ 2147483647 w 742"/>
                <a:gd name="T61" fmla="*/ 2147483647 h 1292"/>
                <a:gd name="T62" fmla="*/ 2147483647 w 742"/>
                <a:gd name="T63" fmla="*/ 2147483647 h 1292"/>
                <a:gd name="T64" fmla="*/ 2147483647 w 742"/>
                <a:gd name="T65" fmla="*/ 2147483647 h 1292"/>
                <a:gd name="T66" fmla="*/ 2147483647 w 742"/>
                <a:gd name="T67" fmla="*/ 0 h 129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42"/>
                <a:gd name="T103" fmla="*/ 0 h 1292"/>
                <a:gd name="T104" fmla="*/ 742 w 742"/>
                <a:gd name="T105" fmla="*/ 1292 h 129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42" h="1292">
                  <a:moveTo>
                    <a:pt x="569" y="0"/>
                  </a:moveTo>
                  <a:lnTo>
                    <a:pt x="569" y="0"/>
                  </a:lnTo>
                  <a:lnTo>
                    <a:pt x="589" y="37"/>
                  </a:lnTo>
                  <a:lnTo>
                    <a:pt x="608" y="73"/>
                  </a:lnTo>
                  <a:lnTo>
                    <a:pt x="625" y="110"/>
                  </a:lnTo>
                  <a:lnTo>
                    <a:pt x="642" y="148"/>
                  </a:lnTo>
                  <a:lnTo>
                    <a:pt x="658" y="186"/>
                  </a:lnTo>
                  <a:lnTo>
                    <a:pt x="671" y="227"/>
                  </a:lnTo>
                  <a:lnTo>
                    <a:pt x="685" y="265"/>
                  </a:lnTo>
                  <a:lnTo>
                    <a:pt x="696" y="305"/>
                  </a:lnTo>
                  <a:lnTo>
                    <a:pt x="708" y="347"/>
                  </a:lnTo>
                  <a:lnTo>
                    <a:pt x="717" y="388"/>
                  </a:lnTo>
                  <a:lnTo>
                    <a:pt x="725" y="430"/>
                  </a:lnTo>
                  <a:lnTo>
                    <a:pt x="731" y="472"/>
                  </a:lnTo>
                  <a:lnTo>
                    <a:pt x="737" y="514"/>
                  </a:lnTo>
                  <a:lnTo>
                    <a:pt x="740" y="559"/>
                  </a:lnTo>
                  <a:lnTo>
                    <a:pt x="742" y="601"/>
                  </a:lnTo>
                  <a:lnTo>
                    <a:pt x="742" y="645"/>
                  </a:lnTo>
                  <a:lnTo>
                    <a:pt x="742" y="689"/>
                  </a:lnTo>
                  <a:lnTo>
                    <a:pt x="740" y="733"/>
                  </a:lnTo>
                  <a:lnTo>
                    <a:pt x="737" y="775"/>
                  </a:lnTo>
                  <a:lnTo>
                    <a:pt x="731" y="820"/>
                  </a:lnTo>
                  <a:lnTo>
                    <a:pt x="725" y="862"/>
                  </a:lnTo>
                  <a:lnTo>
                    <a:pt x="717" y="902"/>
                  </a:lnTo>
                  <a:lnTo>
                    <a:pt x="708" y="944"/>
                  </a:lnTo>
                  <a:lnTo>
                    <a:pt x="696" y="985"/>
                  </a:lnTo>
                  <a:lnTo>
                    <a:pt x="685" y="1025"/>
                  </a:lnTo>
                  <a:lnTo>
                    <a:pt x="673" y="1065"/>
                  </a:lnTo>
                  <a:lnTo>
                    <a:pt x="658" y="1104"/>
                  </a:lnTo>
                  <a:lnTo>
                    <a:pt x="642" y="1142"/>
                  </a:lnTo>
                  <a:lnTo>
                    <a:pt x="625" y="1180"/>
                  </a:lnTo>
                  <a:lnTo>
                    <a:pt x="608" y="1219"/>
                  </a:lnTo>
                  <a:lnTo>
                    <a:pt x="589" y="1255"/>
                  </a:lnTo>
                  <a:lnTo>
                    <a:pt x="569" y="1290"/>
                  </a:lnTo>
                  <a:lnTo>
                    <a:pt x="569" y="1292"/>
                  </a:lnTo>
                  <a:lnTo>
                    <a:pt x="567" y="1290"/>
                  </a:lnTo>
                  <a:lnTo>
                    <a:pt x="394" y="1265"/>
                  </a:lnTo>
                  <a:lnTo>
                    <a:pt x="221" y="1240"/>
                  </a:lnTo>
                  <a:lnTo>
                    <a:pt x="112" y="1102"/>
                  </a:lnTo>
                  <a:lnTo>
                    <a:pt x="2" y="965"/>
                  </a:lnTo>
                  <a:lnTo>
                    <a:pt x="0" y="963"/>
                  </a:lnTo>
                  <a:lnTo>
                    <a:pt x="2" y="963"/>
                  </a:lnTo>
                  <a:lnTo>
                    <a:pt x="21" y="929"/>
                  </a:lnTo>
                  <a:lnTo>
                    <a:pt x="39" y="891"/>
                  </a:lnTo>
                  <a:lnTo>
                    <a:pt x="54" y="852"/>
                  </a:lnTo>
                  <a:lnTo>
                    <a:pt x="66" y="814"/>
                  </a:lnTo>
                  <a:lnTo>
                    <a:pt x="75" y="772"/>
                  </a:lnTo>
                  <a:lnTo>
                    <a:pt x="83" y="731"/>
                  </a:lnTo>
                  <a:lnTo>
                    <a:pt x="87" y="689"/>
                  </a:lnTo>
                  <a:lnTo>
                    <a:pt x="89" y="645"/>
                  </a:lnTo>
                  <a:lnTo>
                    <a:pt x="87" y="603"/>
                  </a:lnTo>
                  <a:lnTo>
                    <a:pt x="83" y="560"/>
                  </a:lnTo>
                  <a:lnTo>
                    <a:pt x="75" y="518"/>
                  </a:lnTo>
                  <a:lnTo>
                    <a:pt x="66" y="478"/>
                  </a:lnTo>
                  <a:lnTo>
                    <a:pt x="54" y="438"/>
                  </a:lnTo>
                  <a:lnTo>
                    <a:pt x="39" y="399"/>
                  </a:lnTo>
                  <a:lnTo>
                    <a:pt x="21" y="363"/>
                  </a:lnTo>
                  <a:lnTo>
                    <a:pt x="2" y="326"/>
                  </a:lnTo>
                  <a:lnTo>
                    <a:pt x="348" y="276"/>
                  </a:lnTo>
                  <a:lnTo>
                    <a:pt x="567" y="0"/>
                  </a:lnTo>
                  <a:lnTo>
                    <a:pt x="569" y="0"/>
                  </a:lnTo>
                </a:path>
              </a:pathLst>
            </a:custGeom>
            <a:solidFill>
              <a:schemeClr val="tx2"/>
            </a:solidFill>
            <a:ln w="317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4" name="CircleSegment"/>
            <p:cNvSpPr>
              <a:spLocks/>
            </p:cNvSpPr>
            <p:nvPr>
              <p:custDataLst>
                <p:tags r:id="rId5"/>
              </p:custDataLst>
            </p:nvPr>
          </p:nvSpPr>
          <p:spPr bwMode="gray">
            <a:xfrm>
              <a:off x="4056001" y="2802654"/>
              <a:ext cx="1170023" cy="2041525"/>
            </a:xfrm>
            <a:custGeom>
              <a:avLst/>
              <a:gdLst>
                <a:gd name="T0" fmla="*/ 2147483647 w 742"/>
                <a:gd name="T1" fmla="*/ 2147483647 h 1292"/>
                <a:gd name="T2" fmla="*/ 2147483647 w 742"/>
                <a:gd name="T3" fmla="*/ 2147483647 h 1292"/>
                <a:gd name="T4" fmla="*/ 2147483647 w 742"/>
                <a:gd name="T5" fmla="*/ 2147483647 h 1292"/>
                <a:gd name="T6" fmla="*/ 2147483647 w 742"/>
                <a:gd name="T7" fmla="*/ 2147483647 h 1292"/>
                <a:gd name="T8" fmla="*/ 2147483647 w 742"/>
                <a:gd name="T9" fmla="*/ 2147483647 h 1292"/>
                <a:gd name="T10" fmla="*/ 2147483647 w 742"/>
                <a:gd name="T11" fmla="*/ 2147483647 h 1292"/>
                <a:gd name="T12" fmla="*/ 2147483647 w 742"/>
                <a:gd name="T13" fmla="*/ 2147483647 h 1292"/>
                <a:gd name="T14" fmla="*/ 2147483647 w 742"/>
                <a:gd name="T15" fmla="*/ 2147483647 h 1292"/>
                <a:gd name="T16" fmla="*/ 2147483647 w 742"/>
                <a:gd name="T17" fmla="*/ 2147483647 h 1292"/>
                <a:gd name="T18" fmla="*/ 2147483647 w 742"/>
                <a:gd name="T19" fmla="*/ 2147483647 h 1292"/>
                <a:gd name="T20" fmla="*/ 2147483647 w 742"/>
                <a:gd name="T21" fmla="*/ 2147483647 h 1292"/>
                <a:gd name="T22" fmla="*/ 2147483647 w 742"/>
                <a:gd name="T23" fmla="*/ 2147483647 h 1292"/>
                <a:gd name="T24" fmla="*/ 2147483647 w 742"/>
                <a:gd name="T25" fmla="*/ 2147483647 h 1292"/>
                <a:gd name="T26" fmla="*/ 2147483647 w 742"/>
                <a:gd name="T27" fmla="*/ 2147483647 h 1292"/>
                <a:gd name="T28" fmla="*/ 2147483647 w 742"/>
                <a:gd name="T29" fmla="*/ 2147483647 h 1292"/>
                <a:gd name="T30" fmla="*/ 2147483647 w 742"/>
                <a:gd name="T31" fmla="*/ 2147483647 h 1292"/>
                <a:gd name="T32" fmla="*/ 2147483647 w 742"/>
                <a:gd name="T33" fmla="*/ 2147483647 h 1292"/>
                <a:gd name="T34" fmla="*/ 0 w 742"/>
                <a:gd name="T35" fmla="*/ 2147483647 h 1292"/>
                <a:gd name="T36" fmla="*/ 0 w 742"/>
                <a:gd name="T37" fmla="*/ 2147483647 h 1292"/>
                <a:gd name="T38" fmla="*/ 2147483647 w 742"/>
                <a:gd name="T39" fmla="*/ 2147483647 h 1292"/>
                <a:gd name="T40" fmla="*/ 2147483647 w 742"/>
                <a:gd name="T41" fmla="*/ 2147483647 h 1292"/>
                <a:gd name="T42" fmla="*/ 2147483647 w 742"/>
                <a:gd name="T43" fmla="*/ 2147483647 h 1292"/>
                <a:gd name="T44" fmla="*/ 2147483647 w 742"/>
                <a:gd name="T45" fmla="*/ 2147483647 h 1292"/>
                <a:gd name="T46" fmla="*/ 2147483647 w 742"/>
                <a:gd name="T47" fmla="*/ 2147483647 h 1292"/>
                <a:gd name="T48" fmla="*/ 2147483647 w 742"/>
                <a:gd name="T49" fmla="*/ 2147483647 h 1292"/>
                <a:gd name="T50" fmla="*/ 2147483647 w 742"/>
                <a:gd name="T51" fmla="*/ 2147483647 h 1292"/>
                <a:gd name="T52" fmla="*/ 2147483647 w 742"/>
                <a:gd name="T53" fmla="*/ 2147483647 h 1292"/>
                <a:gd name="T54" fmla="*/ 2147483647 w 742"/>
                <a:gd name="T55" fmla="*/ 2147483647 h 1292"/>
                <a:gd name="T56" fmla="*/ 2147483647 w 742"/>
                <a:gd name="T57" fmla="*/ 2147483647 h 1292"/>
                <a:gd name="T58" fmla="*/ 2147483647 w 742"/>
                <a:gd name="T59" fmla="*/ 2147483647 h 1292"/>
                <a:gd name="T60" fmla="*/ 2147483647 w 742"/>
                <a:gd name="T61" fmla="*/ 2147483647 h 1292"/>
                <a:gd name="T62" fmla="*/ 2147483647 w 742"/>
                <a:gd name="T63" fmla="*/ 2147483647 h 1292"/>
                <a:gd name="T64" fmla="*/ 2147483647 w 742"/>
                <a:gd name="T65" fmla="*/ 2147483647 h 1292"/>
                <a:gd name="T66" fmla="*/ 2147483647 w 742"/>
                <a:gd name="T67" fmla="*/ 2147483647 h 1292"/>
                <a:gd name="T68" fmla="*/ 2147483647 w 742"/>
                <a:gd name="T69" fmla="*/ 0 h 1292"/>
                <a:gd name="T70" fmla="*/ 2147483647 w 742"/>
                <a:gd name="T71" fmla="*/ 0 h 1292"/>
                <a:gd name="T72" fmla="*/ 2147483647 w 742"/>
                <a:gd name="T73" fmla="*/ 2147483647 h 1292"/>
                <a:gd name="T74" fmla="*/ 2147483647 w 742"/>
                <a:gd name="T75" fmla="*/ 2147483647 h 1292"/>
                <a:gd name="T76" fmla="*/ 2147483647 w 742"/>
                <a:gd name="T77" fmla="*/ 2147483647 h 1292"/>
                <a:gd name="T78" fmla="*/ 2147483647 w 742"/>
                <a:gd name="T79" fmla="*/ 2147483647 h 1292"/>
                <a:gd name="T80" fmla="*/ 2147483647 w 742"/>
                <a:gd name="T81" fmla="*/ 2147483647 h 1292"/>
                <a:gd name="T82" fmla="*/ 2147483647 w 742"/>
                <a:gd name="T83" fmla="*/ 2147483647 h 1292"/>
                <a:gd name="T84" fmla="*/ 2147483647 w 742"/>
                <a:gd name="T85" fmla="*/ 2147483647 h 1292"/>
                <a:gd name="T86" fmla="*/ 2147483647 w 742"/>
                <a:gd name="T87" fmla="*/ 2147483647 h 1292"/>
                <a:gd name="T88" fmla="*/ 2147483647 w 742"/>
                <a:gd name="T89" fmla="*/ 2147483647 h 1292"/>
                <a:gd name="T90" fmla="*/ 2147483647 w 742"/>
                <a:gd name="T91" fmla="*/ 2147483647 h 1292"/>
                <a:gd name="T92" fmla="*/ 2147483647 w 742"/>
                <a:gd name="T93" fmla="*/ 2147483647 h 1292"/>
                <a:gd name="T94" fmla="*/ 2147483647 w 742"/>
                <a:gd name="T95" fmla="*/ 2147483647 h 1292"/>
                <a:gd name="T96" fmla="*/ 2147483647 w 742"/>
                <a:gd name="T97" fmla="*/ 2147483647 h 1292"/>
                <a:gd name="T98" fmla="*/ 2147483647 w 742"/>
                <a:gd name="T99" fmla="*/ 2147483647 h 1292"/>
                <a:gd name="T100" fmla="*/ 2147483647 w 742"/>
                <a:gd name="T101" fmla="*/ 2147483647 h 1292"/>
                <a:gd name="T102" fmla="*/ 2147483647 w 742"/>
                <a:gd name="T103" fmla="*/ 2147483647 h 1292"/>
                <a:gd name="T104" fmla="*/ 2147483647 w 742"/>
                <a:gd name="T105" fmla="*/ 2147483647 h 1292"/>
                <a:gd name="T106" fmla="*/ 2147483647 w 742"/>
                <a:gd name="T107" fmla="*/ 2147483647 h 1292"/>
                <a:gd name="T108" fmla="*/ 2147483647 w 742"/>
                <a:gd name="T109" fmla="*/ 2147483647 h 1292"/>
                <a:gd name="T110" fmla="*/ 2147483647 w 742"/>
                <a:gd name="T111" fmla="*/ 2147483647 h 1292"/>
                <a:gd name="T112" fmla="*/ 2147483647 w 742"/>
                <a:gd name="T113" fmla="*/ 2147483647 h 1292"/>
                <a:gd name="T114" fmla="*/ 2147483647 w 742"/>
                <a:gd name="T115" fmla="*/ 2147483647 h 1292"/>
                <a:gd name="T116" fmla="*/ 2147483647 w 742"/>
                <a:gd name="T117" fmla="*/ 2147483647 h 129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42"/>
                <a:gd name="T178" fmla="*/ 0 h 1292"/>
                <a:gd name="T179" fmla="*/ 742 w 742"/>
                <a:gd name="T180" fmla="*/ 1292 h 129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42" h="1292">
                  <a:moveTo>
                    <a:pt x="173" y="1292"/>
                  </a:moveTo>
                  <a:lnTo>
                    <a:pt x="173" y="1290"/>
                  </a:lnTo>
                  <a:lnTo>
                    <a:pt x="171" y="1290"/>
                  </a:lnTo>
                  <a:lnTo>
                    <a:pt x="150" y="1251"/>
                  </a:lnTo>
                  <a:lnTo>
                    <a:pt x="130" y="1211"/>
                  </a:lnTo>
                  <a:lnTo>
                    <a:pt x="111" y="1173"/>
                  </a:lnTo>
                  <a:lnTo>
                    <a:pt x="94" y="1132"/>
                  </a:lnTo>
                  <a:lnTo>
                    <a:pt x="78" y="1092"/>
                  </a:lnTo>
                  <a:lnTo>
                    <a:pt x="65" y="1052"/>
                  </a:lnTo>
                  <a:lnTo>
                    <a:pt x="52" y="1010"/>
                  </a:lnTo>
                  <a:lnTo>
                    <a:pt x="40" y="969"/>
                  </a:lnTo>
                  <a:lnTo>
                    <a:pt x="30" y="927"/>
                  </a:lnTo>
                  <a:lnTo>
                    <a:pt x="21" y="887"/>
                  </a:lnTo>
                  <a:lnTo>
                    <a:pt x="15" y="844"/>
                  </a:lnTo>
                  <a:lnTo>
                    <a:pt x="9" y="802"/>
                  </a:lnTo>
                  <a:lnTo>
                    <a:pt x="3" y="760"/>
                  </a:lnTo>
                  <a:lnTo>
                    <a:pt x="2" y="718"/>
                  </a:lnTo>
                  <a:lnTo>
                    <a:pt x="0" y="678"/>
                  </a:lnTo>
                  <a:lnTo>
                    <a:pt x="0" y="635"/>
                  </a:lnTo>
                  <a:lnTo>
                    <a:pt x="2" y="593"/>
                  </a:lnTo>
                  <a:lnTo>
                    <a:pt x="3" y="551"/>
                  </a:lnTo>
                  <a:lnTo>
                    <a:pt x="7" y="511"/>
                  </a:lnTo>
                  <a:lnTo>
                    <a:pt x="11" y="468"/>
                  </a:lnTo>
                  <a:lnTo>
                    <a:pt x="19" y="428"/>
                  </a:lnTo>
                  <a:lnTo>
                    <a:pt x="27" y="388"/>
                  </a:lnTo>
                  <a:lnTo>
                    <a:pt x="34" y="347"/>
                  </a:lnTo>
                  <a:lnTo>
                    <a:pt x="46" y="307"/>
                  </a:lnTo>
                  <a:lnTo>
                    <a:pt x="57" y="267"/>
                  </a:lnTo>
                  <a:lnTo>
                    <a:pt x="69" y="227"/>
                  </a:lnTo>
                  <a:lnTo>
                    <a:pt x="84" y="188"/>
                  </a:lnTo>
                  <a:lnTo>
                    <a:pt x="100" y="150"/>
                  </a:lnTo>
                  <a:lnTo>
                    <a:pt x="115" y="111"/>
                  </a:lnTo>
                  <a:lnTo>
                    <a:pt x="134" y="73"/>
                  </a:lnTo>
                  <a:lnTo>
                    <a:pt x="153" y="37"/>
                  </a:lnTo>
                  <a:lnTo>
                    <a:pt x="173" y="0"/>
                  </a:lnTo>
                  <a:lnTo>
                    <a:pt x="175" y="0"/>
                  </a:lnTo>
                  <a:lnTo>
                    <a:pt x="523" y="52"/>
                  </a:lnTo>
                  <a:lnTo>
                    <a:pt x="742" y="328"/>
                  </a:lnTo>
                  <a:lnTo>
                    <a:pt x="740" y="326"/>
                  </a:lnTo>
                  <a:lnTo>
                    <a:pt x="721" y="363"/>
                  </a:lnTo>
                  <a:lnTo>
                    <a:pt x="703" y="399"/>
                  </a:lnTo>
                  <a:lnTo>
                    <a:pt x="688" y="438"/>
                  </a:lnTo>
                  <a:lnTo>
                    <a:pt x="676" y="478"/>
                  </a:lnTo>
                  <a:lnTo>
                    <a:pt x="667" y="518"/>
                  </a:lnTo>
                  <a:lnTo>
                    <a:pt x="659" y="559"/>
                  </a:lnTo>
                  <a:lnTo>
                    <a:pt x="655" y="599"/>
                  </a:lnTo>
                  <a:lnTo>
                    <a:pt x="653" y="641"/>
                  </a:lnTo>
                  <a:lnTo>
                    <a:pt x="655" y="681"/>
                  </a:lnTo>
                  <a:lnTo>
                    <a:pt x="657" y="724"/>
                  </a:lnTo>
                  <a:lnTo>
                    <a:pt x="665" y="764"/>
                  </a:lnTo>
                  <a:lnTo>
                    <a:pt x="673" y="804"/>
                  </a:lnTo>
                  <a:lnTo>
                    <a:pt x="686" y="846"/>
                  </a:lnTo>
                  <a:lnTo>
                    <a:pt x="699" y="887"/>
                  </a:lnTo>
                  <a:lnTo>
                    <a:pt x="719" y="925"/>
                  </a:lnTo>
                  <a:lnTo>
                    <a:pt x="738" y="963"/>
                  </a:lnTo>
                  <a:lnTo>
                    <a:pt x="392" y="1015"/>
                  </a:lnTo>
                  <a:lnTo>
                    <a:pt x="173" y="1292"/>
                  </a:lnTo>
                </a:path>
              </a:pathLst>
            </a:custGeom>
            <a:solidFill>
              <a:schemeClr val="tx2"/>
            </a:solidFill>
            <a:ln w="317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5" name="CircleSegment"/>
            <p:cNvSpPr>
              <a:spLocks/>
            </p:cNvSpPr>
            <p:nvPr>
              <p:custDataLst>
                <p:tags r:id="rId6"/>
              </p:custDataLst>
            </p:nvPr>
          </p:nvSpPr>
          <p:spPr bwMode="gray">
            <a:xfrm>
              <a:off x="4329060" y="1780306"/>
              <a:ext cx="1970148" cy="1535113"/>
            </a:xfrm>
            <a:custGeom>
              <a:avLst/>
              <a:gdLst>
                <a:gd name="T0" fmla="*/ 0 w 1249"/>
                <a:gd name="T1" fmla="*/ 2147483647 h 971"/>
                <a:gd name="T2" fmla="*/ 2147483647 w 1249"/>
                <a:gd name="T3" fmla="*/ 2147483647 h 971"/>
                <a:gd name="T4" fmla="*/ 2147483647 w 1249"/>
                <a:gd name="T5" fmla="*/ 2147483647 h 971"/>
                <a:gd name="T6" fmla="*/ 2147483647 w 1249"/>
                <a:gd name="T7" fmla="*/ 2147483647 h 971"/>
                <a:gd name="T8" fmla="*/ 2147483647 w 1249"/>
                <a:gd name="T9" fmla="*/ 2147483647 h 971"/>
                <a:gd name="T10" fmla="*/ 2147483647 w 1249"/>
                <a:gd name="T11" fmla="*/ 2147483647 h 971"/>
                <a:gd name="T12" fmla="*/ 2147483647 w 1249"/>
                <a:gd name="T13" fmla="*/ 2147483647 h 971"/>
                <a:gd name="T14" fmla="*/ 2147483647 w 1249"/>
                <a:gd name="T15" fmla="*/ 2147483647 h 971"/>
                <a:gd name="T16" fmla="*/ 2147483647 w 1249"/>
                <a:gd name="T17" fmla="*/ 2147483647 h 971"/>
                <a:gd name="T18" fmla="*/ 2147483647 w 1249"/>
                <a:gd name="T19" fmla="*/ 2147483647 h 971"/>
                <a:gd name="T20" fmla="*/ 2147483647 w 1249"/>
                <a:gd name="T21" fmla="*/ 2147483647 h 971"/>
                <a:gd name="T22" fmla="*/ 2147483647 w 1249"/>
                <a:gd name="T23" fmla="*/ 2147483647 h 971"/>
                <a:gd name="T24" fmla="*/ 2147483647 w 1249"/>
                <a:gd name="T25" fmla="*/ 2147483647 h 971"/>
                <a:gd name="T26" fmla="*/ 2147483647 w 1249"/>
                <a:gd name="T27" fmla="*/ 2147483647 h 971"/>
                <a:gd name="T28" fmla="*/ 2147483647 w 1249"/>
                <a:gd name="T29" fmla="*/ 2147483647 h 971"/>
                <a:gd name="T30" fmla="*/ 2147483647 w 1249"/>
                <a:gd name="T31" fmla="*/ 2147483647 h 971"/>
                <a:gd name="T32" fmla="*/ 2147483647 w 1249"/>
                <a:gd name="T33" fmla="*/ 2147483647 h 971"/>
                <a:gd name="T34" fmla="*/ 2147483647 w 1249"/>
                <a:gd name="T35" fmla="*/ 0 h 971"/>
                <a:gd name="T36" fmla="*/ 2147483647 w 1249"/>
                <a:gd name="T37" fmla="*/ 0 h 971"/>
                <a:gd name="T38" fmla="*/ 2147483647 w 1249"/>
                <a:gd name="T39" fmla="*/ 2147483647 h 971"/>
                <a:gd name="T40" fmla="*/ 2147483647 w 1249"/>
                <a:gd name="T41" fmla="*/ 2147483647 h 971"/>
                <a:gd name="T42" fmla="*/ 2147483647 w 1249"/>
                <a:gd name="T43" fmla="*/ 2147483647 h 971"/>
                <a:gd name="T44" fmla="*/ 2147483647 w 1249"/>
                <a:gd name="T45" fmla="*/ 2147483647 h 971"/>
                <a:gd name="T46" fmla="*/ 2147483647 w 1249"/>
                <a:gd name="T47" fmla="*/ 2147483647 h 971"/>
                <a:gd name="T48" fmla="*/ 2147483647 w 1249"/>
                <a:gd name="T49" fmla="*/ 2147483647 h 971"/>
                <a:gd name="T50" fmla="*/ 2147483647 w 1249"/>
                <a:gd name="T51" fmla="*/ 2147483647 h 971"/>
                <a:gd name="T52" fmla="*/ 2147483647 w 1249"/>
                <a:gd name="T53" fmla="*/ 2147483647 h 971"/>
                <a:gd name="T54" fmla="*/ 2147483647 w 1249"/>
                <a:gd name="T55" fmla="*/ 2147483647 h 971"/>
                <a:gd name="T56" fmla="*/ 2147483647 w 1249"/>
                <a:gd name="T57" fmla="*/ 2147483647 h 971"/>
                <a:gd name="T58" fmla="*/ 2147483647 w 1249"/>
                <a:gd name="T59" fmla="*/ 2147483647 h 971"/>
                <a:gd name="T60" fmla="*/ 2147483647 w 1249"/>
                <a:gd name="T61" fmla="*/ 2147483647 h 971"/>
                <a:gd name="T62" fmla="*/ 2147483647 w 1249"/>
                <a:gd name="T63" fmla="*/ 2147483647 h 971"/>
                <a:gd name="T64" fmla="*/ 2147483647 w 1249"/>
                <a:gd name="T65" fmla="*/ 2147483647 h 971"/>
                <a:gd name="T66" fmla="*/ 0 w 1249"/>
                <a:gd name="T67" fmla="*/ 2147483647 h 9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49"/>
                <a:gd name="T103" fmla="*/ 0 h 971"/>
                <a:gd name="T104" fmla="*/ 1249 w 1249"/>
                <a:gd name="T105" fmla="*/ 971 h 9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49" h="971">
                  <a:moveTo>
                    <a:pt x="0" y="647"/>
                  </a:moveTo>
                  <a:lnTo>
                    <a:pt x="0" y="647"/>
                  </a:lnTo>
                  <a:lnTo>
                    <a:pt x="21" y="611"/>
                  </a:lnTo>
                  <a:lnTo>
                    <a:pt x="44" y="576"/>
                  </a:lnTo>
                  <a:lnTo>
                    <a:pt x="67" y="542"/>
                  </a:lnTo>
                  <a:lnTo>
                    <a:pt x="92" y="509"/>
                  </a:lnTo>
                  <a:lnTo>
                    <a:pt x="117" y="476"/>
                  </a:lnTo>
                  <a:lnTo>
                    <a:pt x="144" y="444"/>
                  </a:lnTo>
                  <a:lnTo>
                    <a:pt x="173" y="413"/>
                  </a:lnTo>
                  <a:lnTo>
                    <a:pt x="202" y="382"/>
                  </a:lnTo>
                  <a:lnTo>
                    <a:pt x="232" y="354"/>
                  </a:lnTo>
                  <a:lnTo>
                    <a:pt x="263" y="325"/>
                  </a:lnTo>
                  <a:lnTo>
                    <a:pt x="296" y="296"/>
                  </a:lnTo>
                  <a:lnTo>
                    <a:pt x="328" y="269"/>
                  </a:lnTo>
                  <a:lnTo>
                    <a:pt x="363" y="244"/>
                  </a:lnTo>
                  <a:lnTo>
                    <a:pt x="400" y="219"/>
                  </a:lnTo>
                  <a:lnTo>
                    <a:pt x="436" y="196"/>
                  </a:lnTo>
                  <a:lnTo>
                    <a:pt x="473" y="173"/>
                  </a:lnTo>
                  <a:lnTo>
                    <a:pt x="511" y="152"/>
                  </a:lnTo>
                  <a:lnTo>
                    <a:pt x="549" y="133"/>
                  </a:lnTo>
                  <a:lnTo>
                    <a:pt x="590" y="114"/>
                  </a:lnTo>
                  <a:lnTo>
                    <a:pt x="628" y="96"/>
                  </a:lnTo>
                  <a:lnTo>
                    <a:pt x="669" y="81"/>
                  </a:lnTo>
                  <a:lnTo>
                    <a:pt x="709" y="68"/>
                  </a:lnTo>
                  <a:lnTo>
                    <a:pt x="749" y="54"/>
                  </a:lnTo>
                  <a:lnTo>
                    <a:pt x="790" y="43"/>
                  </a:lnTo>
                  <a:lnTo>
                    <a:pt x="830" y="33"/>
                  </a:lnTo>
                  <a:lnTo>
                    <a:pt x="872" y="23"/>
                  </a:lnTo>
                  <a:lnTo>
                    <a:pt x="913" y="18"/>
                  </a:lnTo>
                  <a:lnTo>
                    <a:pt x="955" y="12"/>
                  </a:lnTo>
                  <a:lnTo>
                    <a:pt x="996" y="6"/>
                  </a:lnTo>
                  <a:lnTo>
                    <a:pt x="1038" y="2"/>
                  </a:lnTo>
                  <a:lnTo>
                    <a:pt x="1078" y="2"/>
                  </a:lnTo>
                  <a:lnTo>
                    <a:pt x="1121" y="0"/>
                  </a:lnTo>
                  <a:lnTo>
                    <a:pt x="1121" y="2"/>
                  </a:lnTo>
                  <a:lnTo>
                    <a:pt x="1184" y="164"/>
                  </a:lnTo>
                  <a:lnTo>
                    <a:pt x="1249" y="329"/>
                  </a:lnTo>
                  <a:lnTo>
                    <a:pt x="1184" y="492"/>
                  </a:lnTo>
                  <a:lnTo>
                    <a:pt x="1121" y="653"/>
                  </a:lnTo>
                  <a:lnTo>
                    <a:pt x="1121" y="655"/>
                  </a:lnTo>
                  <a:lnTo>
                    <a:pt x="1121" y="653"/>
                  </a:lnTo>
                  <a:lnTo>
                    <a:pt x="1078" y="655"/>
                  </a:lnTo>
                  <a:lnTo>
                    <a:pt x="1038" y="659"/>
                  </a:lnTo>
                  <a:lnTo>
                    <a:pt x="997" y="664"/>
                  </a:lnTo>
                  <a:lnTo>
                    <a:pt x="957" y="674"/>
                  </a:lnTo>
                  <a:lnTo>
                    <a:pt x="917" y="686"/>
                  </a:lnTo>
                  <a:lnTo>
                    <a:pt x="878" y="701"/>
                  </a:lnTo>
                  <a:lnTo>
                    <a:pt x="838" y="718"/>
                  </a:lnTo>
                  <a:lnTo>
                    <a:pt x="801" y="739"/>
                  </a:lnTo>
                  <a:lnTo>
                    <a:pt x="763" y="762"/>
                  </a:lnTo>
                  <a:lnTo>
                    <a:pt x="728" y="787"/>
                  </a:lnTo>
                  <a:lnTo>
                    <a:pt x="698" y="814"/>
                  </a:lnTo>
                  <a:lnTo>
                    <a:pt x="667" y="843"/>
                  </a:lnTo>
                  <a:lnTo>
                    <a:pt x="638" y="872"/>
                  </a:lnTo>
                  <a:lnTo>
                    <a:pt x="613" y="904"/>
                  </a:lnTo>
                  <a:lnTo>
                    <a:pt x="588" y="937"/>
                  </a:lnTo>
                  <a:lnTo>
                    <a:pt x="567" y="971"/>
                  </a:lnTo>
                  <a:lnTo>
                    <a:pt x="350" y="699"/>
                  </a:lnTo>
                  <a:lnTo>
                    <a:pt x="2" y="647"/>
                  </a:lnTo>
                  <a:lnTo>
                    <a:pt x="0" y="647"/>
                  </a:lnTo>
                </a:path>
              </a:pathLst>
            </a:custGeom>
            <a:solidFill>
              <a:schemeClr val="tx2"/>
            </a:solidFill>
            <a:ln w="317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6" name="CircleSegment"/>
            <p:cNvSpPr>
              <a:spLocks/>
            </p:cNvSpPr>
            <p:nvPr>
              <p:custDataLst>
                <p:tags r:id="rId7"/>
              </p:custDataLst>
            </p:nvPr>
          </p:nvSpPr>
          <p:spPr bwMode="gray">
            <a:xfrm>
              <a:off x="5899941" y="4326655"/>
              <a:ext cx="1973324" cy="1535113"/>
            </a:xfrm>
            <a:custGeom>
              <a:avLst/>
              <a:gdLst>
                <a:gd name="T0" fmla="*/ 2147483647 w 1251"/>
                <a:gd name="T1" fmla="*/ 2147483647 h 971"/>
                <a:gd name="T2" fmla="*/ 2147483647 w 1251"/>
                <a:gd name="T3" fmla="*/ 2147483647 h 971"/>
                <a:gd name="T4" fmla="*/ 2147483647 w 1251"/>
                <a:gd name="T5" fmla="*/ 2147483647 h 971"/>
                <a:gd name="T6" fmla="*/ 2147483647 w 1251"/>
                <a:gd name="T7" fmla="*/ 2147483647 h 971"/>
                <a:gd name="T8" fmla="*/ 2147483647 w 1251"/>
                <a:gd name="T9" fmla="*/ 2147483647 h 971"/>
                <a:gd name="T10" fmla="*/ 2147483647 w 1251"/>
                <a:gd name="T11" fmla="*/ 2147483647 h 971"/>
                <a:gd name="T12" fmla="*/ 2147483647 w 1251"/>
                <a:gd name="T13" fmla="*/ 2147483647 h 971"/>
                <a:gd name="T14" fmla="*/ 2147483647 w 1251"/>
                <a:gd name="T15" fmla="*/ 2147483647 h 971"/>
                <a:gd name="T16" fmla="*/ 2147483647 w 1251"/>
                <a:gd name="T17" fmla="*/ 2147483647 h 971"/>
                <a:gd name="T18" fmla="*/ 2147483647 w 1251"/>
                <a:gd name="T19" fmla="*/ 2147483647 h 971"/>
                <a:gd name="T20" fmla="*/ 2147483647 w 1251"/>
                <a:gd name="T21" fmla="*/ 2147483647 h 971"/>
                <a:gd name="T22" fmla="*/ 2147483647 w 1251"/>
                <a:gd name="T23" fmla="*/ 2147483647 h 971"/>
                <a:gd name="T24" fmla="*/ 2147483647 w 1251"/>
                <a:gd name="T25" fmla="*/ 2147483647 h 971"/>
                <a:gd name="T26" fmla="*/ 2147483647 w 1251"/>
                <a:gd name="T27" fmla="*/ 2147483647 h 971"/>
                <a:gd name="T28" fmla="*/ 2147483647 w 1251"/>
                <a:gd name="T29" fmla="*/ 2147483647 h 971"/>
                <a:gd name="T30" fmla="*/ 2147483647 w 1251"/>
                <a:gd name="T31" fmla="*/ 2147483647 h 971"/>
                <a:gd name="T32" fmla="*/ 2147483647 w 1251"/>
                <a:gd name="T33" fmla="*/ 2147483647 h 971"/>
                <a:gd name="T34" fmla="*/ 2147483647 w 1251"/>
                <a:gd name="T35" fmla="*/ 2147483647 h 971"/>
                <a:gd name="T36" fmla="*/ 2147483647 w 1251"/>
                <a:gd name="T37" fmla="*/ 2147483647 h 971"/>
                <a:gd name="T38" fmla="*/ 2147483647 w 1251"/>
                <a:gd name="T39" fmla="*/ 2147483647 h 971"/>
                <a:gd name="T40" fmla="*/ 2147483647 w 1251"/>
                <a:gd name="T41" fmla="*/ 2147483647 h 971"/>
                <a:gd name="T42" fmla="*/ 2147483647 w 1251"/>
                <a:gd name="T43" fmla="*/ 2147483647 h 971"/>
                <a:gd name="T44" fmla="*/ 2147483647 w 1251"/>
                <a:gd name="T45" fmla="*/ 2147483647 h 971"/>
                <a:gd name="T46" fmla="*/ 2147483647 w 1251"/>
                <a:gd name="T47" fmla="*/ 2147483647 h 971"/>
                <a:gd name="T48" fmla="*/ 2147483647 w 1251"/>
                <a:gd name="T49" fmla="*/ 2147483647 h 971"/>
                <a:gd name="T50" fmla="*/ 2147483647 w 1251"/>
                <a:gd name="T51" fmla="*/ 2147483647 h 971"/>
                <a:gd name="T52" fmla="*/ 2147483647 w 1251"/>
                <a:gd name="T53" fmla="*/ 2147483647 h 971"/>
                <a:gd name="T54" fmla="*/ 2147483647 w 1251"/>
                <a:gd name="T55" fmla="*/ 2147483647 h 971"/>
                <a:gd name="T56" fmla="*/ 2147483647 w 1251"/>
                <a:gd name="T57" fmla="*/ 2147483647 h 971"/>
                <a:gd name="T58" fmla="*/ 2147483647 w 1251"/>
                <a:gd name="T59" fmla="*/ 2147483647 h 971"/>
                <a:gd name="T60" fmla="*/ 2147483647 w 1251"/>
                <a:gd name="T61" fmla="*/ 2147483647 h 971"/>
                <a:gd name="T62" fmla="*/ 2147483647 w 1251"/>
                <a:gd name="T63" fmla="*/ 2147483647 h 971"/>
                <a:gd name="T64" fmla="*/ 2147483647 w 1251"/>
                <a:gd name="T65" fmla="*/ 2147483647 h 971"/>
                <a:gd name="T66" fmla="*/ 2147483647 w 1251"/>
                <a:gd name="T67" fmla="*/ 2147483647 h 971"/>
                <a:gd name="T68" fmla="*/ 2147483647 w 1251"/>
                <a:gd name="T69" fmla="*/ 2147483647 h 971"/>
                <a:gd name="T70" fmla="*/ 2147483647 w 1251"/>
                <a:gd name="T71" fmla="*/ 2147483647 h 971"/>
                <a:gd name="T72" fmla="*/ 0 w 1251"/>
                <a:gd name="T73" fmla="*/ 2147483647 h 971"/>
                <a:gd name="T74" fmla="*/ 2147483647 w 1251"/>
                <a:gd name="T75" fmla="*/ 2147483647 h 971"/>
                <a:gd name="T76" fmla="*/ 2147483647 w 1251"/>
                <a:gd name="T77" fmla="*/ 2147483647 h 971"/>
                <a:gd name="T78" fmla="*/ 2147483647 w 1251"/>
                <a:gd name="T79" fmla="*/ 2147483647 h 971"/>
                <a:gd name="T80" fmla="*/ 2147483647 w 1251"/>
                <a:gd name="T81" fmla="*/ 2147483647 h 971"/>
                <a:gd name="T82" fmla="*/ 2147483647 w 1251"/>
                <a:gd name="T83" fmla="*/ 2147483647 h 971"/>
                <a:gd name="T84" fmla="*/ 2147483647 w 1251"/>
                <a:gd name="T85" fmla="*/ 2147483647 h 971"/>
                <a:gd name="T86" fmla="*/ 2147483647 w 1251"/>
                <a:gd name="T87" fmla="*/ 2147483647 h 971"/>
                <a:gd name="T88" fmla="*/ 2147483647 w 1251"/>
                <a:gd name="T89" fmla="*/ 2147483647 h 971"/>
                <a:gd name="T90" fmla="*/ 2147483647 w 1251"/>
                <a:gd name="T91" fmla="*/ 2147483647 h 971"/>
                <a:gd name="T92" fmla="*/ 2147483647 w 1251"/>
                <a:gd name="T93" fmla="*/ 2147483647 h 971"/>
                <a:gd name="T94" fmla="*/ 2147483647 w 1251"/>
                <a:gd name="T95" fmla="*/ 2147483647 h 971"/>
                <a:gd name="T96" fmla="*/ 2147483647 w 1251"/>
                <a:gd name="T97" fmla="*/ 2147483647 h 971"/>
                <a:gd name="T98" fmla="*/ 2147483647 w 1251"/>
                <a:gd name="T99" fmla="*/ 2147483647 h 971"/>
                <a:gd name="T100" fmla="*/ 2147483647 w 1251"/>
                <a:gd name="T101" fmla="*/ 2147483647 h 971"/>
                <a:gd name="T102" fmla="*/ 2147483647 w 1251"/>
                <a:gd name="T103" fmla="*/ 2147483647 h 971"/>
                <a:gd name="T104" fmla="*/ 2147483647 w 1251"/>
                <a:gd name="T105" fmla="*/ 2147483647 h 971"/>
                <a:gd name="T106" fmla="*/ 2147483647 w 1251"/>
                <a:gd name="T107" fmla="*/ 2147483647 h 971"/>
                <a:gd name="T108" fmla="*/ 2147483647 w 1251"/>
                <a:gd name="T109" fmla="*/ 0 h 971"/>
                <a:gd name="T110" fmla="*/ 2147483647 w 1251"/>
                <a:gd name="T111" fmla="*/ 0 h 971"/>
                <a:gd name="T112" fmla="*/ 2147483647 w 1251"/>
                <a:gd name="T113" fmla="*/ 0 h 971"/>
                <a:gd name="T114" fmla="*/ 2147483647 w 1251"/>
                <a:gd name="T115" fmla="*/ 2147483647 h 971"/>
                <a:gd name="T116" fmla="*/ 2147483647 w 1251"/>
                <a:gd name="T117" fmla="*/ 2147483647 h 9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51"/>
                <a:gd name="T178" fmla="*/ 0 h 971"/>
                <a:gd name="T179" fmla="*/ 1251 w 1251"/>
                <a:gd name="T180" fmla="*/ 971 h 9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51" h="971">
                  <a:moveTo>
                    <a:pt x="1251" y="327"/>
                  </a:moveTo>
                  <a:lnTo>
                    <a:pt x="1249" y="327"/>
                  </a:lnTo>
                  <a:lnTo>
                    <a:pt x="1226" y="365"/>
                  </a:lnTo>
                  <a:lnTo>
                    <a:pt x="1203" y="403"/>
                  </a:lnTo>
                  <a:lnTo>
                    <a:pt x="1178" y="438"/>
                  </a:lnTo>
                  <a:lnTo>
                    <a:pt x="1151" y="472"/>
                  </a:lnTo>
                  <a:lnTo>
                    <a:pt x="1124" y="507"/>
                  </a:lnTo>
                  <a:lnTo>
                    <a:pt x="1096" y="540"/>
                  </a:lnTo>
                  <a:lnTo>
                    <a:pt x="1067" y="572"/>
                  </a:lnTo>
                  <a:lnTo>
                    <a:pt x="1036" y="601"/>
                  </a:lnTo>
                  <a:lnTo>
                    <a:pt x="1005" y="632"/>
                  </a:lnTo>
                  <a:lnTo>
                    <a:pt x="975" y="659"/>
                  </a:lnTo>
                  <a:lnTo>
                    <a:pt x="942" y="685"/>
                  </a:lnTo>
                  <a:lnTo>
                    <a:pt x="909" y="712"/>
                  </a:lnTo>
                  <a:lnTo>
                    <a:pt x="875" y="737"/>
                  </a:lnTo>
                  <a:lnTo>
                    <a:pt x="840" y="760"/>
                  </a:lnTo>
                  <a:lnTo>
                    <a:pt x="803" y="783"/>
                  </a:lnTo>
                  <a:lnTo>
                    <a:pt x="767" y="804"/>
                  </a:lnTo>
                  <a:lnTo>
                    <a:pt x="730" y="824"/>
                  </a:lnTo>
                  <a:lnTo>
                    <a:pt x="694" y="843"/>
                  </a:lnTo>
                  <a:lnTo>
                    <a:pt x="655" y="860"/>
                  </a:lnTo>
                  <a:lnTo>
                    <a:pt x="617" y="875"/>
                  </a:lnTo>
                  <a:lnTo>
                    <a:pt x="578" y="891"/>
                  </a:lnTo>
                  <a:lnTo>
                    <a:pt x="540" y="904"/>
                  </a:lnTo>
                  <a:lnTo>
                    <a:pt x="500" y="918"/>
                  </a:lnTo>
                  <a:lnTo>
                    <a:pt x="459" y="929"/>
                  </a:lnTo>
                  <a:lnTo>
                    <a:pt x="419" y="939"/>
                  </a:lnTo>
                  <a:lnTo>
                    <a:pt x="379" y="946"/>
                  </a:lnTo>
                  <a:lnTo>
                    <a:pt x="338" y="954"/>
                  </a:lnTo>
                  <a:lnTo>
                    <a:pt x="296" y="960"/>
                  </a:lnTo>
                  <a:lnTo>
                    <a:pt x="255" y="966"/>
                  </a:lnTo>
                  <a:lnTo>
                    <a:pt x="213" y="969"/>
                  </a:lnTo>
                  <a:lnTo>
                    <a:pt x="171" y="971"/>
                  </a:lnTo>
                  <a:lnTo>
                    <a:pt x="131" y="971"/>
                  </a:lnTo>
                  <a:lnTo>
                    <a:pt x="131" y="969"/>
                  </a:lnTo>
                  <a:lnTo>
                    <a:pt x="0" y="643"/>
                  </a:lnTo>
                  <a:lnTo>
                    <a:pt x="131" y="315"/>
                  </a:lnTo>
                  <a:lnTo>
                    <a:pt x="131" y="319"/>
                  </a:lnTo>
                  <a:lnTo>
                    <a:pt x="171" y="317"/>
                  </a:lnTo>
                  <a:lnTo>
                    <a:pt x="211" y="313"/>
                  </a:lnTo>
                  <a:lnTo>
                    <a:pt x="254" y="307"/>
                  </a:lnTo>
                  <a:lnTo>
                    <a:pt x="292" y="298"/>
                  </a:lnTo>
                  <a:lnTo>
                    <a:pt x="332" y="286"/>
                  </a:lnTo>
                  <a:lnTo>
                    <a:pt x="371" y="271"/>
                  </a:lnTo>
                  <a:lnTo>
                    <a:pt x="409" y="256"/>
                  </a:lnTo>
                  <a:lnTo>
                    <a:pt x="446" y="236"/>
                  </a:lnTo>
                  <a:lnTo>
                    <a:pt x="480" y="213"/>
                  </a:lnTo>
                  <a:lnTo>
                    <a:pt x="515" y="190"/>
                  </a:lnTo>
                  <a:lnTo>
                    <a:pt x="548" y="164"/>
                  </a:lnTo>
                  <a:lnTo>
                    <a:pt x="578" y="137"/>
                  </a:lnTo>
                  <a:lnTo>
                    <a:pt x="607" y="106"/>
                  </a:lnTo>
                  <a:lnTo>
                    <a:pt x="634" y="73"/>
                  </a:lnTo>
                  <a:lnTo>
                    <a:pt x="661" y="37"/>
                  </a:lnTo>
                  <a:lnTo>
                    <a:pt x="684" y="0"/>
                  </a:lnTo>
                  <a:lnTo>
                    <a:pt x="901" y="275"/>
                  </a:lnTo>
                  <a:lnTo>
                    <a:pt x="1251" y="327"/>
                  </a:lnTo>
                </a:path>
              </a:pathLst>
            </a:custGeom>
            <a:solidFill>
              <a:schemeClr val="tx2"/>
            </a:solidFill>
            <a:ln w="317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7" name="CircleSegment"/>
            <p:cNvSpPr>
              <a:spLocks/>
            </p:cNvSpPr>
            <p:nvPr>
              <p:custDataLst>
                <p:tags r:id="rId8"/>
              </p:custDataLst>
            </p:nvPr>
          </p:nvSpPr>
          <p:spPr bwMode="gray">
            <a:xfrm>
              <a:off x="4325884" y="4323480"/>
              <a:ext cx="1770116" cy="1538288"/>
            </a:xfrm>
            <a:custGeom>
              <a:avLst/>
              <a:gdLst>
                <a:gd name="T0" fmla="*/ 2147483647 w 1123"/>
                <a:gd name="T1" fmla="*/ 2147483647 h 973"/>
                <a:gd name="T2" fmla="*/ 2147483647 w 1123"/>
                <a:gd name="T3" fmla="*/ 2147483647 h 973"/>
                <a:gd name="T4" fmla="*/ 2147483647 w 1123"/>
                <a:gd name="T5" fmla="*/ 2147483647 h 973"/>
                <a:gd name="T6" fmla="*/ 2147483647 w 1123"/>
                <a:gd name="T7" fmla="*/ 2147483647 h 973"/>
                <a:gd name="T8" fmla="*/ 2147483647 w 1123"/>
                <a:gd name="T9" fmla="*/ 2147483647 h 973"/>
                <a:gd name="T10" fmla="*/ 2147483647 w 1123"/>
                <a:gd name="T11" fmla="*/ 2147483647 h 973"/>
                <a:gd name="T12" fmla="*/ 2147483647 w 1123"/>
                <a:gd name="T13" fmla="*/ 2147483647 h 973"/>
                <a:gd name="T14" fmla="*/ 2147483647 w 1123"/>
                <a:gd name="T15" fmla="*/ 2147483647 h 973"/>
                <a:gd name="T16" fmla="*/ 2147483647 w 1123"/>
                <a:gd name="T17" fmla="*/ 2147483647 h 973"/>
                <a:gd name="T18" fmla="*/ 2147483647 w 1123"/>
                <a:gd name="T19" fmla="*/ 2147483647 h 973"/>
                <a:gd name="T20" fmla="*/ 2147483647 w 1123"/>
                <a:gd name="T21" fmla="*/ 2147483647 h 973"/>
                <a:gd name="T22" fmla="*/ 2147483647 w 1123"/>
                <a:gd name="T23" fmla="*/ 2147483647 h 973"/>
                <a:gd name="T24" fmla="*/ 2147483647 w 1123"/>
                <a:gd name="T25" fmla="*/ 2147483647 h 973"/>
                <a:gd name="T26" fmla="*/ 2147483647 w 1123"/>
                <a:gd name="T27" fmla="*/ 2147483647 h 973"/>
                <a:gd name="T28" fmla="*/ 2147483647 w 1123"/>
                <a:gd name="T29" fmla="*/ 2147483647 h 973"/>
                <a:gd name="T30" fmla="*/ 2147483647 w 1123"/>
                <a:gd name="T31" fmla="*/ 2147483647 h 973"/>
                <a:gd name="T32" fmla="*/ 2147483647 w 1123"/>
                <a:gd name="T33" fmla="*/ 2147483647 h 973"/>
                <a:gd name="T34" fmla="*/ 0 w 1123"/>
                <a:gd name="T35" fmla="*/ 2147483647 h 973"/>
                <a:gd name="T36" fmla="*/ 2147483647 w 1123"/>
                <a:gd name="T37" fmla="*/ 2147483647 h 973"/>
                <a:gd name="T38" fmla="*/ 2147483647 w 1123"/>
                <a:gd name="T39" fmla="*/ 2147483647 h 973"/>
                <a:gd name="T40" fmla="*/ 2147483647 w 1123"/>
                <a:gd name="T41" fmla="*/ 2147483647 h 973"/>
                <a:gd name="T42" fmla="*/ 2147483647 w 1123"/>
                <a:gd name="T43" fmla="*/ 2147483647 h 973"/>
                <a:gd name="T44" fmla="*/ 2147483647 w 1123"/>
                <a:gd name="T45" fmla="*/ 0 h 973"/>
                <a:gd name="T46" fmla="*/ 2147483647 w 1123"/>
                <a:gd name="T47" fmla="*/ 0 h 973"/>
                <a:gd name="T48" fmla="*/ 2147483647 w 1123"/>
                <a:gd name="T49" fmla="*/ 2147483647 h 973"/>
                <a:gd name="T50" fmla="*/ 2147483647 w 1123"/>
                <a:gd name="T51" fmla="*/ 2147483647 h 973"/>
                <a:gd name="T52" fmla="*/ 2147483647 w 1123"/>
                <a:gd name="T53" fmla="*/ 2147483647 h 973"/>
                <a:gd name="T54" fmla="*/ 2147483647 w 1123"/>
                <a:gd name="T55" fmla="*/ 2147483647 h 973"/>
                <a:gd name="T56" fmla="*/ 2147483647 w 1123"/>
                <a:gd name="T57" fmla="*/ 2147483647 h 973"/>
                <a:gd name="T58" fmla="*/ 2147483647 w 1123"/>
                <a:gd name="T59" fmla="*/ 2147483647 h 973"/>
                <a:gd name="T60" fmla="*/ 2147483647 w 1123"/>
                <a:gd name="T61" fmla="*/ 2147483647 h 973"/>
                <a:gd name="T62" fmla="*/ 2147483647 w 1123"/>
                <a:gd name="T63" fmla="*/ 2147483647 h 973"/>
                <a:gd name="T64" fmla="*/ 2147483647 w 1123"/>
                <a:gd name="T65" fmla="*/ 2147483647 h 973"/>
                <a:gd name="T66" fmla="*/ 2147483647 w 1123"/>
                <a:gd name="T67" fmla="*/ 2147483647 h 9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23"/>
                <a:gd name="T103" fmla="*/ 0 h 973"/>
                <a:gd name="T104" fmla="*/ 1123 w 1123"/>
                <a:gd name="T105" fmla="*/ 973 h 9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23" h="973">
                  <a:moveTo>
                    <a:pt x="1123" y="973"/>
                  </a:moveTo>
                  <a:lnTo>
                    <a:pt x="1121" y="973"/>
                  </a:lnTo>
                  <a:lnTo>
                    <a:pt x="1080" y="973"/>
                  </a:lnTo>
                  <a:lnTo>
                    <a:pt x="1038" y="971"/>
                  </a:lnTo>
                  <a:lnTo>
                    <a:pt x="998" y="968"/>
                  </a:lnTo>
                  <a:lnTo>
                    <a:pt x="955" y="964"/>
                  </a:lnTo>
                  <a:lnTo>
                    <a:pt x="915" y="958"/>
                  </a:lnTo>
                  <a:lnTo>
                    <a:pt x="873" y="950"/>
                  </a:lnTo>
                  <a:lnTo>
                    <a:pt x="832" y="941"/>
                  </a:lnTo>
                  <a:lnTo>
                    <a:pt x="792" y="931"/>
                  </a:lnTo>
                  <a:lnTo>
                    <a:pt x="751" y="920"/>
                  </a:lnTo>
                  <a:lnTo>
                    <a:pt x="711" y="908"/>
                  </a:lnTo>
                  <a:lnTo>
                    <a:pt x="671" y="893"/>
                  </a:lnTo>
                  <a:lnTo>
                    <a:pt x="630" y="877"/>
                  </a:lnTo>
                  <a:lnTo>
                    <a:pt x="590" y="860"/>
                  </a:lnTo>
                  <a:lnTo>
                    <a:pt x="551" y="843"/>
                  </a:lnTo>
                  <a:lnTo>
                    <a:pt x="513" y="822"/>
                  </a:lnTo>
                  <a:lnTo>
                    <a:pt x="475" y="801"/>
                  </a:lnTo>
                  <a:lnTo>
                    <a:pt x="436" y="778"/>
                  </a:lnTo>
                  <a:lnTo>
                    <a:pt x="400" y="755"/>
                  </a:lnTo>
                  <a:lnTo>
                    <a:pt x="365" y="730"/>
                  </a:lnTo>
                  <a:lnTo>
                    <a:pt x="330" y="705"/>
                  </a:lnTo>
                  <a:lnTo>
                    <a:pt x="296" y="678"/>
                  </a:lnTo>
                  <a:lnTo>
                    <a:pt x="263" y="651"/>
                  </a:lnTo>
                  <a:lnTo>
                    <a:pt x="232" y="622"/>
                  </a:lnTo>
                  <a:lnTo>
                    <a:pt x="202" y="592"/>
                  </a:lnTo>
                  <a:lnTo>
                    <a:pt x="173" y="563"/>
                  </a:lnTo>
                  <a:lnTo>
                    <a:pt x="146" y="530"/>
                  </a:lnTo>
                  <a:lnTo>
                    <a:pt x="119" y="499"/>
                  </a:lnTo>
                  <a:lnTo>
                    <a:pt x="92" y="467"/>
                  </a:lnTo>
                  <a:lnTo>
                    <a:pt x="69" y="432"/>
                  </a:lnTo>
                  <a:lnTo>
                    <a:pt x="44" y="398"/>
                  </a:lnTo>
                  <a:lnTo>
                    <a:pt x="23" y="363"/>
                  </a:lnTo>
                  <a:lnTo>
                    <a:pt x="2" y="329"/>
                  </a:lnTo>
                  <a:lnTo>
                    <a:pt x="0" y="329"/>
                  </a:lnTo>
                  <a:lnTo>
                    <a:pt x="2" y="329"/>
                  </a:lnTo>
                  <a:lnTo>
                    <a:pt x="2" y="327"/>
                  </a:lnTo>
                  <a:lnTo>
                    <a:pt x="111" y="190"/>
                  </a:lnTo>
                  <a:lnTo>
                    <a:pt x="221" y="52"/>
                  </a:lnTo>
                  <a:lnTo>
                    <a:pt x="394" y="27"/>
                  </a:lnTo>
                  <a:lnTo>
                    <a:pt x="567" y="2"/>
                  </a:lnTo>
                  <a:lnTo>
                    <a:pt x="567" y="0"/>
                  </a:lnTo>
                  <a:lnTo>
                    <a:pt x="567" y="2"/>
                  </a:lnTo>
                  <a:lnTo>
                    <a:pt x="569" y="0"/>
                  </a:lnTo>
                  <a:lnTo>
                    <a:pt x="567" y="2"/>
                  </a:lnTo>
                  <a:lnTo>
                    <a:pt x="590" y="37"/>
                  </a:lnTo>
                  <a:lnTo>
                    <a:pt x="613" y="70"/>
                  </a:lnTo>
                  <a:lnTo>
                    <a:pt x="638" y="102"/>
                  </a:lnTo>
                  <a:lnTo>
                    <a:pt x="667" y="133"/>
                  </a:lnTo>
                  <a:lnTo>
                    <a:pt x="698" y="162"/>
                  </a:lnTo>
                  <a:lnTo>
                    <a:pt x="730" y="189"/>
                  </a:lnTo>
                  <a:lnTo>
                    <a:pt x="765" y="213"/>
                  </a:lnTo>
                  <a:lnTo>
                    <a:pt x="801" y="235"/>
                  </a:lnTo>
                  <a:lnTo>
                    <a:pt x="840" y="256"/>
                  </a:lnTo>
                  <a:lnTo>
                    <a:pt x="878" y="273"/>
                  </a:lnTo>
                  <a:lnTo>
                    <a:pt x="919" y="288"/>
                  </a:lnTo>
                  <a:lnTo>
                    <a:pt x="957" y="300"/>
                  </a:lnTo>
                  <a:lnTo>
                    <a:pt x="998" y="309"/>
                  </a:lnTo>
                  <a:lnTo>
                    <a:pt x="1040" y="315"/>
                  </a:lnTo>
                  <a:lnTo>
                    <a:pt x="1080" y="319"/>
                  </a:lnTo>
                  <a:lnTo>
                    <a:pt x="1121" y="321"/>
                  </a:lnTo>
                  <a:lnTo>
                    <a:pt x="992" y="645"/>
                  </a:lnTo>
                  <a:lnTo>
                    <a:pt x="1123" y="971"/>
                  </a:lnTo>
                  <a:lnTo>
                    <a:pt x="1123" y="973"/>
                  </a:lnTo>
                </a:path>
              </a:pathLst>
            </a:custGeom>
            <a:solidFill>
              <a:schemeClr val="tx2"/>
            </a:solidFill>
            <a:ln w="317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8" name="Rectangle 8"/>
            <p:cNvSpPr>
              <a:spLocks noChangeArrowheads="1"/>
            </p:cNvSpPr>
            <p:nvPr>
              <p:custDataLst>
                <p:tags r:id="rId9"/>
              </p:custDataLst>
            </p:nvPr>
          </p:nvSpPr>
          <p:spPr bwMode="gray">
            <a:xfrm>
              <a:off x="6111102" y="2504923"/>
              <a:ext cx="1551002" cy="246221"/>
            </a:xfrm>
            <a:prstGeom prst="rect">
              <a:avLst/>
            </a:prstGeom>
            <a:noFill/>
            <a:ln w="9525" algn="ctr">
              <a:noFill/>
              <a:miter lim="800000"/>
              <a:headEnd type="none" w="lg" len="lg"/>
              <a:tailEnd type="none" w="lg" len="lg"/>
            </a:ln>
          </p:spPr>
          <p:txBody>
            <a:bodyPr wrap="none" lIns="0" tIns="0" rIns="0" bIns="0" anchor="ctr">
              <a:spAutoFit/>
            </a:bodyPr>
            <a:lstStyle/>
            <a:p>
              <a:pPr lvl="1"/>
              <a:r>
                <a:rPr lang="en-US" sz="1600" dirty="0">
                  <a:solidFill>
                    <a:schemeClr val="bg1"/>
                  </a:solidFill>
                  <a:sym typeface="Trebuchet MS" panose="020B0603020202020204" pitchFamily="34" charset="0"/>
                </a:rPr>
                <a:t>Write a test</a:t>
              </a:r>
            </a:p>
          </p:txBody>
        </p:sp>
        <p:sp>
          <p:nvSpPr>
            <p:cNvPr id="39" name="Rectangle 9"/>
            <p:cNvSpPr>
              <a:spLocks noChangeArrowheads="1"/>
            </p:cNvSpPr>
            <p:nvPr>
              <p:custDataLst>
                <p:tags r:id="rId10"/>
              </p:custDataLst>
            </p:nvPr>
          </p:nvSpPr>
          <p:spPr bwMode="gray">
            <a:xfrm>
              <a:off x="7186917" y="3809847"/>
              <a:ext cx="819263" cy="246221"/>
            </a:xfrm>
            <a:prstGeom prst="rect">
              <a:avLst/>
            </a:prstGeom>
            <a:noFill/>
            <a:ln w="9525" algn="ctr">
              <a:noFill/>
              <a:miter lim="800000"/>
              <a:headEnd type="none" w="lg" len="lg"/>
              <a:tailEnd type="none" w="lg" len="lg"/>
            </a:ln>
          </p:spPr>
          <p:txBody>
            <a:bodyPr wrap="none" lIns="0" tIns="0" rIns="0" bIns="0" anchor="ctr">
              <a:spAutoFit/>
            </a:bodyPr>
            <a:lstStyle/>
            <a:p>
              <a:r>
                <a:rPr lang="en-US" sz="1600" dirty="0">
                  <a:solidFill>
                    <a:schemeClr val="bg1"/>
                  </a:solidFill>
                  <a:sym typeface="Trebuchet MS" panose="020B0603020202020204" pitchFamily="34" charset="0"/>
                </a:rPr>
                <a:t>Test fails</a:t>
              </a:r>
            </a:p>
          </p:txBody>
        </p:sp>
        <p:sp>
          <p:nvSpPr>
            <p:cNvPr id="40" name="Rectangle 10"/>
            <p:cNvSpPr>
              <a:spLocks noChangeArrowheads="1"/>
            </p:cNvSpPr>
            <p:nvPr>
              <p:custDataLst>
                <p:tags r:id="rId11"/>
              </p:custDataLst>
            </p:nvPr>
          </p:nvSpPr>
          <p:spPr bwMode="gray">
            <a:xfrm>
              <a:off x="6127026" y="4868552"/>
              <a:ext cx="1170192" cy="738664"/>
            </a:xfrm>
            <a:prstGeom prst="rect">
              <a:avLst/>
            </a:prstGeom>
            <a:noFill/>
            <a:ln w="9525" algn="ctr">
              <a:noFill/>
              <a:miter lim="800000"/>
              <a:headEnd type="none" w="lg" len="lg"/>
              <a:tailEnd type="none" w="lg" len="lg"/>
            </a:ln>
          </p:spPr>
          <p:txBody>
            <a:bodyPr wrap="none" lIns="0" tIns="0" rIns="0" bIns="0" anchor="ctr">
              <a:spAutoFit/>
            </a:bodyPr>
            <a:lstStyle/>
            <a:p>
              <a:r>
                <a:rPr lang="en-US" sz="1600" dirty="0">
                  <a:solidFill>
                    <a:schemeClr val="bg1"/>
                  </a:solidFill>
                  <a:sym typeface="Trebuchet MS" panose="020B0603020202020204" pitchFamily="34" charset="0"/>
                </a:rPr>
                <a:t>Write code </a:t>
              </a:r>
            </a:p>
            <a:p>
              <a:r>
                <a:rPr lang="en-US" sz="1600" dirty="0">
                  <a:solidFill>
                    <a:schemeClr val="bg1"/>
                  </a:solidFill>
                  <a:sym typeface="Trebuchet MS" panose="020B0603020202020204" pitchFamily="34" charset="0"/>
                </a:rPr>
                <a:t>to make test</a:t>
              </a:r>
            </a:p>
            <a:p>
              <a:r>
                <a:rPr lang="en-US" sz="1600" dirty="0">
                  <a:solidFill>
                    <a:schemeClr val="bg1"/>
                  </a:solidFill>
                  <a:sym typeface="Trebuchet MS" panose="020B0603020202020204" pitchFamily="34" charset="0"/>
                </a:rPr>
                <a:t> pass</a:t>
              </a:r>
            </a:p>
          </p:txBody>
        </p:sp>
        <p:sp>
          <p:nvSpPr>
            <p:cNvPr id="41" name="Rectangle 11"/>
            <p:cNvSpPr>
              <a:spLocks noChangeArrowheads="1"/>
            </p:cNvSpPr>
            <p:nvPr>
              <p:custDataLst>
                <p:tags r:id="rId12"/>
              </p:custDataLst>
            </p:nvPr>
          </p:nvSpPr>
          <p:spPr bwMode="gray">
            <a:xfrm>
              <a:off x="4696585" y="4777212"/>
              <a:ext cx="1168590" cy="492443"/>
            </a:xfrm>
            <a:prstGeom prst="rect">
              <a:avLst/>
            </a:prstGeom>
            <a:noFill/>
            <a:ln w="9525" algn="ctr">
              <a:noFill/>
              <a:miter lim="800000"/>
              <a:headEnd type="none" w="lg" len="lg"/>
              <a:tailEnd type="none" w="lg" len="lg"/>
            </a:ln>
          </p:spPr>
          <p:txBody>
            <a:bodyPr wrap="none" lIns="0" tIns="0" rIns="0" bIns="0" anchor="ctr">
              <a:spAutoFit/>
            </a:bodyPr>
            <a:lstStyle/>
            <a:p>
              <a:r>
                <a:rPr lang="en-US" sz="1600" dirty="0">
                  <a:solidFill>
                    <a:schemeClr val="bg1"/>
                  </a:solidFill>
                  <a:sym typeface="Trebuchet MS" panose="020B0603020202020204" pitchFamily="34" charset="0"/>
                </a:rPr>
                <a:t>Code passes </a:t>
              </a:r>
            </a:p>
            <a:p>
              <a:r>
                <a:rPr lang="en-US" sz="1600" dirty="0">
                  <a:solidFill>
                    <a:schemeClr val="bg1"/>
                  </a:solidFill>
                  <a:sym typeface="Trebuchet MS" panose="020B0603020202020204" pitchFamily="34" charset="0"/>
                </a:rPr>
                <a:t>test</a:t>
              </a:r>
            </a:p>
          </p:txBody>
        </p:sp>
        <p:sp>
          <p:nvSpPr>
            <p:cNvPr id="42" name="Rectangle 12"/>
            <p:cNvSpPr>
              <a:spLocks noChangeArrowheads="1"/>
            </p:cNvSpPr>
            <p:nvPr>
              <p:custDataLst>
                <p:tags r:id="rId13"/>
              </p:custDataLst>
            </p:nvPr>
          </p:nvSpPr>
          <p:spPr bwMode="gray">
            <a:xfrm>
              <a:off x="4125871" y="3528011"/>
              <a:ext cx="947375" cy="492443"/>
            </a:xfrm>
            <a:prstGeom prst="rect">
              <a:avLst/>
            </a:prstGeom>
            <a:noFill/>
            <a:ln w="9525" algn="ctr">
              <a:noFill/>
              <a:miter lim="800000"/>
              <a:headEnd type="none" w="lg" len="lg"/>
              <a:tailEnd type="none" w="lg" len="lg"/>
            </a:ln>
          </p:spPr>
          <p:txBody>
            <a:bodyPr wrap="none" lIns="0" tIns="0" rIns="0" bIns="0" anchor="ctr">
              <a:spAutoFit/>
            </a:bodyPr>
            <a:lstStyle/>
            <a:p>
              <a:r>
                <a:rPr lang="en-US" sz="1600" dirty="0">
                  <a:solidFill>
                    <a:schemeClr val="bg1"/>
                  </a:solidFill>
                  <a:sym typeface="Trebuchet MS" panose="020B0603020202020204" pitchFamily="34" charset="0"/>
                </a:rPr>
                <a:t>How to</a:t>
              </a:r>
            </a:p>
            <a:p>
              <a:r>
                <a:rPr lang="en-US" sz="1600" dirty="0">
                  <a:solidFill>
                    <a:schemeClr val="bg1"/>
                  </a:solidFill>
                  <a:sym typeface="Trebuchet MS" panose="020B0603020202020204" pitchFamily="34" charset="0"/>
                </a:rPr>
                <a:t>improve ? </a:t>
              </a:r>
            </a:p>
          </p:txBody>
        </p:sp>
        <p:sp>
          <p:nvSpPr>
            <p:cNvPr id="43" name="Rectangle 13"/>
            <p:cNvSpPr>
              <a:spLocks noChangeArrowheads="1"/>
            </p:cNvSpPr>
            <p:nvPr>
              <p:custDataLst>
                <p:tags r:id="rId14"/>
              </p:custDataLst>
            </p:nvPr>
          </p:nvSpPr>
          <p:spPr bwMode="gray">
            <a:xfrm>
              <a:off x="4932987" y="2398559"/>
              <a:ext cx="1016304" cy="246221"/>
            </a:xfrm>
            <a:prstGeom prst="rect">
              <a:avLst/>
            </a:prstGeom>
            <a:noFill/>
            <a:ln w="9525" algn="ctr">
              <a:noFill/>
              <a:miter lim="800000"/>
              <a:headEnd type="none" w="lg" len="lg"/>
              <a:tailEnd type="none" w="lg" len="lg"/>
            </a:ln>
          </p:spPr>
          <p:txBody>
            <a:bodyPr wrap="none" lIns="0" tIns="0" rIns="0" bIns="0" anchor="ctr">
              <a:spAutoFit/>
            </a:bodyPr>
            <a:lstStyle/>
            <a:p>
              <a:pPr algn="ctr"/>
              <a:r>
                <a:rPr lang="en-US" sz="1600" dirty="0">
                  <a:solidFill>
                    <a:schemeClr val="bg1"/>
                  </a:solidFill>
                  <a:sym typeface="Trebuchet MS" panose="020B0603020202020204" pitchFamily="34" charset="0"/>
                </a:rPr>
                <a:t>Clean code</a:t>
              </a:r>
            </a:p>
          </p:txBody>
        </p:sp>
      </p:grpSp>
      <p:sp>
        <p:nvSpPr>
          <p:cNvPr id="2" name="Oval 1"/>
          <p:cNvSpPr/>
          <p:nvPr/>
        </p:nvSpPr>
        <p:spPr>
          <a:xfrm>
            <a:off x="5199482" y="872480"/>
            <a:ext cx="5094516" cy="5117796"/>
          </a:xfrm>
          <a:prstGeom prst="ellipse">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p:cNvSpPr/>
          <p:nvPr/>
        </p:nvSpPr>
        <p:spPr>
          <a:xfrm>
            <a:off x="7427168" y="734050"/>
            <a:ext cx="612270" cy="312344"/>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Rectangle 49"/>
          <p:cNvSpPr/>
          <p:nvPr/>
        </p:nvSpPr>
        <p:spPr>
          <a:xfrm>
            <a:off x="9688246" y="4389684"/>
            <a:ext cx="737119" cy="312344"/>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p:cNvSpPr/>
          <p:nvPr/>
        </p:nvSpPr>
        <p:spPr>
          <a:xfrm>
            <a:off x="5130694" y="4447482"/>
            <a:ext cx="737119" cy="312344"/>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Isosceles Triangle 58"/>
          <p:cNvSpPr/>
          <p:nvPr/>
        </p:nvSpPr>
        <p:spPr>
          <a:xfrm rot="12941037">
            <a:off x="10032987" y="4339804"/>
            <a:ext cx="133200" cy="108000"/>
          </a:xfrm>
          <a:prstGeom prst="triangle">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Isosceles Triangle 59"/>
          <p:cNvSpPr/>
          <p:nvPr/>
        </p:nvSpPr>
        <p:spPr>
          <a:xfrm rot="19807541">
            <a:off x="5483355" y="4667786"/>
            <a:ext cx="133200" cy="108000"/>
          </a:xfrm>
          <a:prstGeom prst="triangle">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1" name="Isosceles Triangle 60"/>
          <p:cNvSpPr/>
          <p:nvPr/>
        </p:nvSpPr>
        <p:spPr>
          <a:xfrm rot="5077351">
            <a:off x="7420571" y="836196"/>
            <a:ext cx="133200" cy="108000"/>
          </a:xfrm>
          <a:prstGeom prst="triangle">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TextBox 53"/>
          <p:cNvSpPr txBox="1"/>
          <p:nvPr/>
        </p:nvSpPr>
        <p:spPr>
          <a:xfrm>
            <a:off x="7002923" y="3143749"/>
            <a:ext cx="1487633" cy="5736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7F7F7F"/>
                </a:solidFill>
              </a:rPr>
              <a:t>Test driven development</a:t>
            </a:r>
          </a:p>
        </p:txBody>
      </p:sp>
      <p:sp>
        <p:nvSpPr>
          <p:cNvPr id="55" name="TextBox 54"/>
          <p:cNvSpPr txBox="1"/>
          <p:nvPr/>
        </p:nvSpPr>
        <p:spPr>
          <a:xfrm>
            <a:off x="9902812" y="1892130"/>
            <a:ext cx="1562687" cy="2670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Code not working</a:t>
            </a:r>
          </a:p>
        </p:txBody>
      </p:sp>
      <p:sp>
        <p:nvSpPr>
          <p:cNvPr id="64" name="TextBox 63"/>
          <p:cNvSpPr txBox="1"/>
          <p:nvPr/>
        </p:nvSpPr>
        <p:spPr>
          <a:xfrm>
            <a:off x="7261665" y="5995570"/>
            <a:ext cx="1101197" cy="2670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Code working</a:t>
            </a:r>
          </a:p>
        </p:txBody>
      </p:sp>
      <p:sp>
        <p:nvSpPr>
          <p:cNvPr id="65" name="TextBox 64"/>
          <p:cNvSpPr txBox="1"/>
          <p:nvPr/>
        </p:nvSpPr>
        <p:spPr>
          <a:xfrm>
            <a:off x="4643500" y="1888787"/>
            <a:ext cx="1101197" cy="2670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7F7F7F"/>
                </a:solidFill>
              </a:rPr>
              <a:t>Refactoring</a:t>
            </a:r>
          </a:p>
        </p:txBody>
      </p:sp>
    </p:spTree>
    <p:extLst>
      <p:ext uri="{BB962C8B-B14F-4D97-AF65-F5344CB8AC3E}">
        <p14:creationId xmlns:p14="http://schemas.microsoft.com/office/powerpoint/2010/main" val="4269989343"/>
      </p:ext>
    </p:extLst>
  </p:cSld>
  <p:clrMapOvr>
    <a:masterClrMapping/>
  </p:clrMapOvr>
  <p:transition>
    <p:fade/>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3045889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69"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8650" y="1618488"/>
            <a:ext cx="3127881" cy="462724"/>
          </a:xfrm>
        </p:spPr>
        <p:txBody>
          <a:bodyPr/>
          <a:lstStyle/>
          <a:p>
            <a:r>
              <a:rPr lang="en-US" dirty="0" err="1"/>
              <a:t>Pytest</a:t>
            </a:r>
            <a:r>
              <a:rPr lang="en-US" dirty="0"/>
              <a:t> (I)</a:t>
            </a:r>
          </a:p>
        </p:txBody>
      </p:sp>
      <p:sp>
        <p:nvSpPr>
          <p:cNvPr id="5" name="TextBox 4"/>
          <p:cNvSpPr txBox="1"/>
          <p:nvPr/>
        </p:nvSpPr>
        <p:spPr>
          <a:xfrm>
            <a:off x="541294" y="2314500"/>
            <a:ext cx="3165715" cy="441339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D4DF3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a:solidFill>
                  <a:schemeClr val="bg1"/>
                </a:solidFill>
              </a:rPr>
              <a:t>Pytest</a:t>
            </a:r>
            <a:r>
              <a:rPr lang="en-US" dirty="0">
                <a:solidFill>
                  <a:schemeClr val="bg1"/>
                </a:solidFill>
              </a:rPr>
              <a:t> is a </a:t>
            </a:r>
            <a:r>
              <a:rPr lang="en-US" dirty="0">
                <a:solidFill>
                  <a:srgbClr val="D4DF33"/>
                </a:solidFill>
              </a:rPr>
              <a:t>testing framework</a:t>
            </a:r>
            <a:r>
              <a:rPr lang="en-US" dirty="0">
                <a:solidFill>
                  <a:schemeClr val="bg1"/>
                </a:solidFill>
              </a:rPr>
              <a:t> which makes it easy to write small test yet while being able to scale to support complex functional testing for applications &amp; libraries</a:t>
            </a:r>
          </a:p>
          <a:p>
            <a:pPr algn="ctr"/>
            <a:endParaRPr lang="en-US" dirty="0">
              <a:solidFill>
                <a:schemeClr val="bg1"/>
              </a:solidFill>
            </a:endParaRPr>
          </a:p>
          <a:p>
            <a:r>
              <a:rPr lang="en-US" dirty="0">
                <a:solidFill>
                  <a:schemeClr val="bg1"/>
                </a:solidFill>
              </a:rPr>
              <a:t>Tests are written as </a:t>
            </a:r>
            <a:r>
              <a:rPr lang="en-US" dirty="0">
                <a:solidFill>
                  <a:srgbClr val="D4DF33"/>
                </a:solidFill>
              </a:rPr>
              <a:t>Python functions</a:t>
            </a:r>
            <a:r>
              <a:rPr lang="en-US" dirty="0">
                <a:solidFill>
                  <a:schemeClr val="bg1"/>
                </a:solidFill>
              </a:rPr>
              <a:t> that are </a:t>
            </a:r>
            <a:r>
              <a:rPr lang="en-US" dirty="0">
                <a:solidFill>
                  <a:srgbClr val="D4DF33"/>
                </a:solidFill>
              </a:rPr>
              <a:t>starting with test_</a:t>
            </a:r>
          </a:p>
          <a:p>
            <a:endParaRPr lang="en-US" dirty="0">
              <a:solidFill>
                <a:schemeClr val="bg1"/>
              </a:solidFill>
            </a:endParaRPr>
          </a:p>
          <a:p>
            <a:r>
              <a:rPr lang="en-US" dirty="0">
                <a:solidFill>
                  <a:schemeClr val="bg1"/>
                </a:solidFill>
              </a:rPr>
              <a:t>Pytest is able to run tests on all the files starting with test_</a:t>
            </a:r>
          </a:p>
          <a:p>
            <a:endParaRPr lang="en-US" dirty="0">
              <a:solidFill>
                <a:schemeClr val="bg1"/>
              </a:solidFill>
            </a:endParaRPr>
          </a:p>
        </p:txBody>
      </p:sp>
      <p:sp>
        <p:nvSpPr>
          <p:cNvPr id="12" name="TextBox 11"/>
          <p:cNvSpPr txBox="1"/>
          <p:nvPr/>
        </p:nvSpPr>
        <p:spPr>
          <a:xfrm>
            <a:off x="4193457" y="1889198"/>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Function to test :</a:t>
            </a:r>
          </a:p>
        </p:txBody>
      </p:sp>
      <p:sp>
        <p:nvSpPr>
          <p:cNvPr id="14" name="TextBox 13"/>
          <p:cNvSpPr txBox="1"/>
          <p:nvPr/>
        </p:nvSpPr>
        <p:spPr>
          <a:xfrm>
            <a:off x="6823202" y="1804210"/>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Test :</a:t>
            </a:r>
          </a:p>
        </p:txBody>
      </p:sp>
      <p:sp>
        <p:nvSpPr>
          <p:cNvPr id="16" name="TextBox 15"/>
          <p:cNvSpPr txBox="1"/>
          <p:nvPr/>
        </p:nvSpPr>
        <p:spPr>
          <a:xfrm>
            <a:off x="4039327" y="4064865"/>
            <a:ext cx="3843309" cy="463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Launch test from command line :</a:t>
            </a:r>
          </a:p>
        </p:txBody>
      </p:sp>
      <p:pic>
        <p:nvPicPr>
          <p:cNvPr id="10" name="Picture 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16744" y="4527892"/>
            <a:ext cx="7484094" cy="1462057"/>
          </a:xfrm>
          <a:prstGeom prst="rect">
            <a:avLst/>
          </a:prstGeom>
          <a:ln w="9525" cap="flat" cmpd="sng" algn="ctr">
            <a:solidFill>
              <a:srgbClr val="9A9A9A"/>
            </a:solidFill>
            <a:prstDash val="solid"/>
            <a:round/>
            <a:headEnd type="none" w="med" len="med"/>
            <a:tailEnd type="none" w="med" len="med"/>
          </a:ln>
        </p:spPr>
      </p:pic>
      <p:sp>
        <p:nvSpPr>
          <p:cNvPr id="7" name="Rectangle 6"/>
          <p:cNvSpPr/>
          <p:nvPr/>
        </p:nvSpPr>
        <p:spPr>
          <a:xfrm>
            <a:off x="4316744" y="2581326"/>
            <a:ext cx="2745129" cy="1046440"/>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mysum</a:t>
            </a:r>
            <a:r>
              <a:rPr lang="en-US" sz="1100" dirty="0">
                <a:solidFill>
                  <a:srgbClr val="000000"/>
                </a:solidFill>
                <a:latin typeface="Consolas" panose="020B0609020204030204" pitchFamily="49" charset="0"/>
              </a:rPr>
              <a:t>(numbers):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output = 0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for</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one_number</a:t>
            </a: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in</a:t>
            </a:r>
            <a:r>
              <a:rPr lang="en-US" sz="1100" dirty="0">
                <a:solidFill>
                  <a:srgbClr val="000000"/>
                </a:solidFill>
                <a:latin typeface="Consolas" panose="020B0609020204030204" pitchFamily="49" charset="0"/>
              </a:rPr>
              <a:t> numbers: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output += </a:t>
            </a:r>
            <a:r>
              <a:rPr lang="en-US" sz="1100" dirty="0" err="1">
                <a:solidFill>
                  <a:srgbClr val="000000"/>
                </a:solidFill>
                <a:latin typeface="Consolas" panose="020B0609020204030204" pitchFamily="49" charset="0"/>
              </a:rPr>
              <a:t>one_number</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return</a:t>
            </a:r>
            <a:r>
              <a:rPr lang="en-US" sz="1100" dirty="0">
                <a:solidFill>
                  <a:srgbClr val="000000"/>
                </a:solidFill>
                <a:latin typeface="Consolas" panose="020B0609020204030204" pitchFamily="49" charset="0"/>
              </a:rPr>
              <a:t> output</a:t>
            </a:r>
            <a:r>
              <a:rPr lang="en-US" dirty="0">
                <a:solidFill>
                  <a:srgbClr val="000000"/>
                </a:solidFill>
                <a:latin typeface="Consolas" panose="020B0609020204030204" pitchFamily="49" charset="0"/>
              </a:rPr>
              <a:t>    </a:t>
            </a:r>
            <a:endParaRPr lang="en-US" b="0" i="0" dirty="0">
              <a:solidFill>
                <a:srgbClr val="5C5C5C"/>
              </a:solidFill>
              <a:effectLst/>
              <a:latin typeface="Consolas" panose="020B0609020204030204" pitchFamily="49" charset="0"/>
            </a:endParaRPr>
          </a:p>
        </p:txBody>
      </p:sp>
      <p:sp>
        <p:nvSpPr>
          <p:cNvPr id="8" name="Rectangle 7"/>
          <p:cNvSpPr/>
          <p:nvPr/>
        </p:nvSpPr>
        <p:spPr>
          <a:xfrm>
            <a:off x="3048000" y="2690336"/>
            <a:ext cx="6096000" cy="369332"/>
          </a:xfrm>
          <a:prstGeom prst="rect">
            <a:avLst/>
          </a:prstGeom>
        </p:spPr>
        <p:txBody>
          <a:bodyPr>
            <a:spAutoFit/>
          </a:bodyPr>
          <a:lstStyle/>
          <a:p>
            <a:r>
              <a:rPr lang="en-US" dirty="0">
                <a:solidFill>
                  <a:srgbClr val="000000"/>
                </a:solidFill>
                <a:latin typeface="Consolas" panose="020B0609020204030204" pitchFamily="49" charset="0"/>
              </a:rPr>
              <a:t> </a:t>
            </a:r>
            <a:endParaRPr lang="en-US" b="0" i="0" dirty="0">
              <a:solidFill>
                <a:srgbClr val="5C5C5C"/>
              </a:solidFill>
              <a:effectLst/>
              <a:latin typeface="Consolas" panose="020B0609020204030204" pitchFamily="49" charset="0"/>
            </a:endParaRPr>
          </a:p>
        </p:txBody>
      </p:sp>
      <p:sp>
        <p:nvSpPr>
          <p:cNvPr id="11" name="Rectangle 10"/>
          <p:cNvSpPr/>
          <p:nvPr/>
        </p:nvSpPr>
        <p:spPr>
          <a:xfrm>
            <a:off x="7657035" y="2581539"/>
            <a:ext cx="3286246" cy="769441"/>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100" b="1" dirty="0">
                <a:solidFill>
                  <a:srgbClr val="006699"/>
                </a:solidFill>
                <a:latin typeface="Consolas" panose="020B0609020204030204" pitchFamily="49" charset="0"/>
              </a:rPr>
              <a:t>from</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mysum</a:t>
            </a:r>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import</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mysum</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b="1" dirty="0">
                <a:solidFill>
                  <a:srgbClr val="006699"/>
                </a:solidFill>
                <a:latin typeface="Consolas" panose="020B0609020204030204" pitchFamily="49" charset="0"/>
              </a:rPr>
              <a:t>def</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test_sum_integers</a:t>
            </a:r>
            <a:r>
              <a:rPr lang="en-US" sz="1100" dirty="0">
                <a:solidFill>
                  <a:srgbClr val="000000"/>
                </a:solidFill>
                <a:latin typeface="Consolas" panose="020B0609020204030204" pitchFamily="49" charset="0"/>
              </a:rPr>
              <a:t>():  </a:t>
            </a:r>
            <a:endParaRPr lang="en-US" sz="1100" dirty="0">
              <a:solidFill>
                <a:srgbClr val="5C5C5C"/>
              </a:solidFill>
              <a:latin typeface="Consolas" panose="020B0609020204030204" pitchFamily="49" charset="0"/>
            </a:endParaRPr>
          </a:p>
          <a:p>
            <a:r>
              <a:rPr lang="en-US" sz="1100" dirty="0">
                <a:solidFill>
                  <a:srgbClr val="000000"/>
                </a:solidFill>
                <a:latin typeface="Consolas" panose="020B0609020204030204" pitchFamily="49" charset="0"/>
              </a:rPr>
              <a:t>    </a:t>
            </a:r>
            <a:r>
              <a:rPr lang="en-US" sz="1100" b="1" dirty="0">
                <a:solidFill>
                  <a:srgbClr val="006699"/>
                </a:solidFill>
                <a:latin typeface="Consolas" panose="020B0609020204030204" pitchFamily="49" charset="0"/>
              </a:rPr>
              <a:t>assert</a:t>
            </a:r>
            <a:r>
              <a:rPr lang="en-US" sz="1100" dirty="0">
                <a:solidFill>
                  <a:srgbClr val="000000"/>
                </a:solidFill>
                <a:latin typeface="Consolas" panose="020B0609020204030204" pitchFamily="49" charset="0"/>
              </a:rPr>
              <a:t> </a:t>
            </a:r>
            <a:r>
              <a:rPr lang="en-US" sz="1100" dirty="0" err="1">
                <a:solidFill>
                  <a:srgbClr val="000000"/>
                </a:solidFill>
                <a:latin typeface="Consolas" panose="020B0609020204030204" pitchFamily="49" charset="0"/>
              </a:rPr>
              <a:t>mysum</a:t>
            </a:r>
            <a:r>
              <a:rPr lang="en-US" sz="1100" dirty="0">
                <a:solidFill>
                  <a:srgbClr val="000000"/>
                </a:solidFill>
                <a:latin typeface="Consolas" panose="020B0609020204030204" pitchFamily="49" charset="0"/>
              </a:rPr>
              <a:t>([0, 1, 2, 3, 4]) == 10 </a:t>
            </a:r>
            <a:endParaRPr lang="en-US" sz="1100" dirty="0"/>
          </a:p>
        </p:txBody>
      </p:sp>
    </p:spTree>
    <p:custDataLst>
      <p:tags r:id="rId2"/>
    </p:custDataLst>
    <p:extLst>
      <p:ext uri="{BB962C8B-B14F-4D97-AF65-F5344CB8AC3E}">
        <p14:creationId xmlns:p14="http://schemas.microsoft.com/office/powerpoint/2010/main" val="2394752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93"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a:xfrm>
            <a:off x="525067" y="1498409"/>
            <a:ext cx="3165715" cy="4401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bg1"/>
                </a:solidFill>
              </a:rPr>
              <a:t>Now, if we want to test several cases for the same function, you can use </a:t>
            </a:r>
            <a:r>
              <a:rPr lang="en-US" dirty="0">
                <a:solidFill>
                  <a:srgbClr val="D4DF33"/>
                </a:solidFill>
              </a:rPr>
              <a:t>decorators  </a:t>
            </a:r>
          </a:p>
          <a:p>
            <a:endParaRPr lang="en-US" dirty="0">
              <a:solidFill>
                <a:schemeClr val="bg1"/>
              </a:solidFill>
            </a:endParaRPr>
          </a:p>
          <a:p>
            <a:r>
              <a:rPr lang="en-US" dirty="0">
                <a:solidFill>
                  <a:schemeClr val="bg1"/>
                </a:solidFill>
              </a:rPr>
              <a:t>You can also use the context manager </a:t>
            </a:r>
            <a:r>
              <a:rPr lang="en-US" dirty="0" err="1">
                <a:solidFill>
                  <a:srgbClr val="D4DF33"/>
                </a:solidFill>
              </a:rPr>
              <a:t>pytest.raises</a:t>
            </a:r>
            <a:r>
              <a:rPr lang="en-US" dirty="0">
                <a:solidFill>
                  <a:schemeClr val="bg1"/>
                </a:solidFill>
              </a:rPr>
              <a:t> to handle exceptions</a:t>
            </a:r>
          </a:p>
        </p:txBody>
      </p:sp>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29125" y="3846513"/>
            <a:ext cx="7134225" cy="2314575"/>
          </a:xfrm>
          <a:prstGeom prst="rect">
            <a:avLst/>
          </a:prstGeom>
          <a:ln w="9525" cap="flat" cmpd="sng" algn="ctr">
            <a:solidFill>
              <a:srgbClr val="9A9A9A"/>
            </a:solidFill>
            <a:prstDash val="solid"/>
            <a:round/>
            <a:headEnd type="none" w="med" len="med"/>
            <a:tailEnd type="none" w="med" len="med"/>
          </a:ln>
        </p:spPr>
      </p:pic>
      <p:sp>
        <p:nvSpPr>
          <p:cNvPr id="8" name="TextBox 7"/>
          <p:cNvSpPr txBox="1"/>
          <p:nvPr/>
        </p:nvSpPr>
        <p:spPr>
          <a:xfrm>
            <a:off x="3568446" y="698042"/>
            <a:ext cx="2211572"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Test :</a:t>
            </a:r>
          </a:p>
        </p:txBody>
      </p:sp>
      <p:sp>
        <p:nvSpPr>
          <p:cNvPr id="9" name="TextBox 8"/>
          <p:cNvSpPr txBox="1"/>
          <p:nvPr/>
        </p:nvSpPr>
        <p:spPr>
          <a:xfrm>
            <a:off x="4073685" y="3192179"/>
            <a:ext cx="4044630" cy="8506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Launch test from command line :</a:t>
            </a:r>
          </a:p>
        </p:txBody>
      </p:sp>
      <p:sp>
        <p:nvSpPr>
          <p:cNvPr id="13" name="Title 2"/>
          <p:cNvSpPr txBox="1">
            <a:spLocks/>
          </p:cNvSpPr>
          <p:nvPr/>
        </p:nvSpPr>
        <p:spPr>
          <a:xfrm>
            <a:off x="628650" y="1641348"/>
            <a:ext cx="3127881" cy="440702"/>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r>
              <a:rPr lang="en-US" dirty="0" err="1"/>
              <a:t>Pytest</a:t>
            </a:r>
            <a:r>
              <a:rPr lang="en-US" dirty="0"/>
              <a:t> (II)</a:t>
            </a:r>
          </a:p>
        </p:txBody>
      </p:sp>
      <p:sp>
        <p:nvSpPr>
          <p:cNvPr id="3" name="Rectangle 2"/>
          <p:cNvSpPr/>
          <p:nvPr/>
        </p:nvSpPr>
        <p:spPr>
          <a:xfrm>
            <a:off x="4429125" y="1336505"/>
            <a:ext cx="6096000" cy="1785104"/>
          </a:xfrm>
          <a:prstGeom prst="rect">
            <a:avLst/>
          </a:prstGeom>
          <a:solidFill>
            <a:srgbClr val="FFFFFF"/>
          </a:solidFill>
          <a:ln w="9525" cap="flat" cmpd="sng" algn="ctr">
            <a:solidFill>
              <a:srgbClr val="6E6F73"/>
            </a:solidFill>
            <a:prstDash val="solid"/>
            <a:round/>
            <a:headEnd type="none" w="med" len="med"/>
            <a:tailEnd type="none" w="med" len="med"/>
          </a:ln>
        </p:spPr>
        <p:txBody>
          <a:bodyPr>
            <a:spAutoFit/>
          </a:bodyPr>
          <a:lstStyle/>
          <a:p>
            <a:r>
              <a:rPr lang="fr-FR" sz="1100" b="1" dirty="0" err="1">
                <a:solidFill>
                  <a:srgbClr val="006699"/>
                </a:solidFill>
                <a:latin typeface="Consolas" panose="020B0609020204030204" pitchFamily="49" charset="0"/>
              </a:rPr>
              <a:t>from</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mysum</a:t>
            </a:r>
            <a:r>
              <a:rPr lang="fr-FR" sz="1100" dirty="0">
                <a:solidFill>
                  <a:srgbClr val="000000"/>
                </a:solidFill>
                <a:latin typeface="Consolas" panose="020B0609020204030204" pitchFamily="49" charset="0"/>
              </a:rPr>
              <a:t> </a:t>
            </a:r>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mysum</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impo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pytest</a:t>
            </a:r>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pytest.mark.parametrize</a:t>
            </a:r>
            <a:r>
              <a:rPr lang="fr-FR" sz="1100" dirty="0">
                <a:solidFill>
                  <a:srgbClr val="000000"/>
                </a:solidFill>
                <a:latin typeface="Consolas" panose="020B0609020204030204" pitchFamily="49" charset="0"/>
              </a:rPr>
              <a:t>(</a:t>
            </a:r>
            <a:r>
              <a:rPr lang="fr-FR" sz="1100" dirty="0">
                <a:solidFill>
                  <a:srgbClr val="0000FF"/>
                </a:solidFill>
                <a:latin typeface="Consolas" panose="020B0609020204030204" pitchFamily="49" charset="0"/>
              </a:rPr>
              <a:t>'</a:t>
            </a:r>
            <a:r>
              <a:rPr lang="fr-FR" sz="1100" dirty="0" err="1">
                <a:solidFill>
                  <a:srgbClr val="0000FF"/>
                </a:solidFill>
                <a:latin typeface="Consolas" panose="020B0609020204030204" pitchFamily="49" charset="0"/>
              </a:rPr>
              <a:t>numbers,output</a:t>
            </a:r>
            <a:r>
              <a:rPr lang="fr-FR" sz="1100" dirty="0">
                <a:solidFill>
                  <a:srgbClr val="0000FF"/>
                </a:solidFill>
                <a:latin typeface="Consolas" panose="020B0609020204030204" pitchFamily="49" charset="0"/>
              </a:rPr>
              <a:t>'</a:t>
            </a:r>
            <a:r>
              <a:rPr lang="fr-FR" sz="1100" dirty="0">
                <a:solidFill>
                  <a:srgbClr val="000000"/>
                </a:solidFill>
                <a:latin typeface="Consolas" panose="020B0609020204030204" pitchFamily="49" charset="0"/>
              </a:rPr>
              <a:t>, [([],0),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10,20,30],60),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0.1, 1.2, 2.3, 3.4, 4.5], 11.5)])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endParaRPr lang="fr-FR" sz="1100" dirty="0">
              <a:solidFill>
                <a:srgbClr val="5C5C5C"/>
              </a:solidFill>
              <a:latin typeface="Consolas" panose="020B0609020204030204" pitchFamily="49" charset="0"/>
            </a:endParaRPr>
          </a:p>
          <a:p>
            <a:r>
              <a:rPr lang="fr-FR" sz="1100" b="1" dirty="0">
                <a:solidFill>
                  <a:srgbClr val="006699"/>
                </a:solidFill>
                <a:latin typeface="Consolas" panose="020B0609020204030204" pitchFamily="49" charset="0"/>
              </a:rPr>
              <a:t>def</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test_mysum</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numbers</a:t>
            </a:r>
            <a:r>
              <a:rPr lang="fr-FR" sz="1100" dirty="0">
                <a:solidFill>
                  <a:srgbClr val="000000"/>
                </a:solidFill>
                <a:latin typeface="Consolas" panose="020B0609020204030204" pitchFamily="49" charset="0"/>
              </a:rPr>
              <a:t>, output):  </a:t>
            </a:r>
            <a:endParaRPr lang="fr-FR" sz="1100" dirty="0">
              <a:solidFill>
                <a:srgbClr val="5C5C5C"/>
              </a:solidFill>
              <a:latin typeface="Consolas" panose="020B0609020204030204" pitchFamily="49" charset="0"/>
            </a:endParaRPr>
          </a:p>
          <a:p>
            <a:r>
              <a:rPr lang="fr-FR" sz="1100" dirty="0">
                <a:solidFill>
                  <a:srgbClr val="000000"/>
                </a:solidFill>
                <a:latin typeface="Consolas" panose="020B0609020204030204" pitchFamily="49" charset="0"/>
              </a:rPr>
              <a:t>    </a:t>
            </a:r>
            <a:r>
              <a:rPr lang="fr-FR" sz="1100" b="1" dirty="0" err="1">
                <a:solidFill>
                  <a:srgbClr val="006699"/>
                </a:solidFill>
                <a:latin typeface="Consolas" panose="020B0609020204030204" pitchFamily="49" charset="0"/>
              </a:rPr>
              <a:t>assert</a:t>
            </a:r>
            <a:r>
              <a:rPr lang="fr-FR" sz="1100" dirty="0">
                <a:solidFill>
                  <a:srgbClr val="000000"/>
                </a:solidFill>
                <a:latin typeface="Consolas" panose="020B0609020204030204" pitchFamily="49" charset="0"/>
              </a:rPr>
              <a:t> </a:t>
            </a:r>
            <a:r>
              <a:rPr lang="fr-FR" sz="1100" dirty="0" err="1">
                <a:solidFill>
                  <a:srgbClr val="000000"/>
                </a:solidFill>
                <a:latin typeface="Consolas" panose="020B0609020204030204" pitchFamily="49" charset="0"/>
              </a:rPr>
              <a:t>mysum</a:t>
            </a:r>
            <a:r>
              <a:rPr lang="fr-FR" sz="1100" dirty="0">
                <a:solidFill>
                  <a:srgbClr val="000000"/>
                </a:solidFill>
                <a:latin typeface="Consolas" panose="020B0609020204030204" pitchFamily="49" charset="0"/>
              </a:rPr>
              <a:t>(</a:t>
            </a:r>
            <a:r>
              <a:rPr lang="fr-FR" sz="1100" dirty="0" err="1">
                <a:solidFill>
                  <a:srgbClr val="000000"/>
                </a:solidFill>
                <a:latin typeface="Consolas" panose="020B0609020204030204" pitchFamily="49" charset="0"/>
              </a:rPr>
              <a:t>numbers</a:t>
            </a:r>
            <a:r>
              <a:rPr lang="fr-FR" sz="1100" dirty="0">
                <a:solidFill>
                  <a:srgbClr val="000000"/>
                </a:solidFill>
                <a:latin typeface="Consolas" panose="020B0609020204030204" pitchFamily="49" charset="0"/>
              </a:rPr>
              <a:t>) == output </a:t>
            </a:r>
            <a:endParaRPr lang="fr-FR" sz="1100" b="0" i="0" dirty="0">
              <a:solidFill>
                <a:srgbClr val="5C5C5C"/>
              </a:solidFill>
              <a:effectLst/>
              <a:latin typeface="Consolas" panose="020B0609020204030204" pitchFamily="49" charset="0"/>
            </a:endParaRPr>
          </a:p>
        </p:txBody>
      </p:sp>
    </p:spTree>
    <p:custDataLst>
      <p:tags r:id="rId2"/>
    </p:custDataLst>
    <p:extLst>
      <p:ext uri="{BB962C8B-B14F-4D97-AF65-F5344CB8AC3E}">
        <p14:creationId xmlns:p14="http://schemas.microsoft.com/office/powerpoint/2010/main" val="3264817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406894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4"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p:txBody>
          <a:bodyPr/>
          <a:lstStyle/>
          <a:p>
            <a:r>
              <a:rPr lang="en-US" dirty="0"/>
              <a:t>Exercise 1.3</a:t>
            </a:r>
            <a:br>
              <a:rPr lang="en-US" dirty="0"/>
            </a:br>
            <a:r>
              <a:rPr lang="en-US" dirty="0"/>
              <a:t>Implement an e2e test</a:t>
            </a:r>
            <a:br>
              <a:rPr lang="en-US" dirty="0"/>
            </a:br>
            <a:r>
              <a:rPr lang="en-US" sz="2000" dirty="0"/>
              <a:t>Branch </a:t>
            </a:r>
            <a:r>
              <a:rPr lang="fr-FR" sz="2000" dirty="0" err="1"/>
              <a:t>origin</a:t>
            </a:r>
            <a:r>
              <a:rPr lang="fr-FR" sz="2000" dirty="0"/>
              <a:t>/training/ex-e2e</a:t>
            </a:r>
            <a:r>
              <a:rPr lang="fr-FR" sz="2000" b="1" dirty="0"/>
              <a:t/>
            </a:r>
            <a:br>
              <a:rPr lang="fr-FR" sz="2000" b="1" dirty="0"/>
            </a:br>
            <a:endParaRPr lang="en-US" sz="2000" dirty="0"/>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Tree>
    <p:custDataLst>
      <p:tags r:id="rId2"/>
    </p:custDataLst>
    <p:extLst>
      <p:ext uri="{BB962C8B-B14F-4D97-AF65-F5344CB8AC3E}">
        <p14:creationId xmlns:p14="http://schemas.microsoft.com/office/powerpoint/2010/main" val="3750023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23208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3"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Python environment (Reminder)</a:t>
            </a:r>
            <a:endParaRPr lang="en-US" dirty="0"/>
          </a:p>
        </p:txBody>
      </p:sp>
      <p:grpSp>
        <p:nvGrpSpPr>
          <p:cNvPr id="11" name="Group 10"/>
          <p:cNvGrpSpPr/>
          <p:nvPr/>
        </p:nvGrpSpPr>
        <p:grpSpPr>
          <a:xfrm>
            <a:off x="4390968" y="1872060"/>
            <a:ext cx="3432137" cy="4498181"/>
            <a:chOff x="4380532" y="1015200"/>
            <a:chExt cx="3432137" cy="4498181"/>
          </a:xfrm>
        </p:grpSpPr>
        <p:sp>
          <p:nvSpPr>
            <p:cNvPr id="93" name="ee4pContent2"/>
            <p:cNvSpPr txBox="1"/>
            <p:nvPr/>
          </p:nvSpPr>
          <p:spPr>
            <a:xfrm>
              <a:off x="4380532" y="2140256"/>
              <a:ext cx="3432137" cy="3373125"/>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800" dirty="0" smtClean="0">
                  <a:solidFill>
                    <a:schemeClr val="tx1">
                      <a:lumMod val="100000"/>
                    </a:schemeClr>
                  </a:solidFill>
                </a:rPr>
                <a:t>Docker environment with Python interpreter from the model service.</a:t>
              </a:r>
              <a:r>
                <a:rPr lang="en-US" sz="1800" dirty="0">
                  <a:solidFill>
                    <a:schemeClr val="tx1">
                      <a:lumMod val="100000"/>
                    </a:schemeClr>
                  </a:solidFill>
                </a:rPr>
                <a:t> </a:t>
              </a:r>
              <a:r>
                <a:rPr lang="en-US" sz="1800" dirty="0" smtClean="0">
                  <a:latin typeface="+mn-lt"/>
                </a:rPr>
                <a:t>See getting started of the README.md </a:t>
              </a:r>
              <a:r>
                <a:rPr lang="en-US" sz="1800" dirty="0" smtClean="0">
                  <a:solidFill>
                    <a:srgbClr val="29BA74"/>
                  </a:solidFill>
                  <a:latin typeface="+mn-lt"/>
                </a:rPr>
                <a:t>(Recommended)</a:t>
              </a:r>
            </a:p>
            <a:p>
              <a:pPr lvl="1">
                <a:buClr>
                  <a:schemeClr val="tx2">
                    <a:lumMod val="100000"/>
                  </a:schemeClr>
                </a:buClr>
                <a:buSzPct val="100000"/>
              </a:pPr>
              <a:endParaRPr lang="en-US" sz="1800" dirty="0">
                <a:latin typeface="+mn-lt"/>
              </a:endParaRPr>
            </a:p>
            <a:p>
              <a:pPr lvl="1">
                <a:buClr>
                  <a:schemeClr val="tx2">
                    <a:lumMod val="100000"/>
                  </a:schemeClr>
                </a:buClr>
                <a:buSzPct val="100000"/>
              </a:pPr>
              <a:r>
                <a:rPr lang="en-US" sz="1800" dirty="0" smtClean="0">
                  <a:solidFill>
                    <a:schemeClr val="tx1">
                      <a:lumMod val="100000"/>
                    </a:schemeClr>
                  </a:solidFill>
                </a:rPr>
                <a:t>Or </a:t>
              </a:r>
              <a:r>
                <a:rPr lang="en-US" sz="1800" dirty="0" err="1" smtClean="0">
                  <a:solidFill>
                    <a:schemeClr val="tx1">
                      <a:lumMod val="100000"/>
                    </a:schemeClr>
                  </a:solidFill>
                </a:rPr>
                <a:t>Conda</a:t>
              </a:r>
              <a:r>
                <a:rPr lang="en-US" sz="1800" dirty="0" smtClean="0">
                  <a:solidFill>
                    <a:schemeClr val="tx1">
                      <a:lumMod val="100000"/>
                    </a:schemeClr>
                  </a:solidFill>
                </a:rPr>
                <a:t> </a:t>
              </a:r>
              <a:r>
                <a:rPr lang="en-US" sz="1800" dirty="0">
                  <a:solidFill>
                    <a:schemeClr val="tx1">
                      <a:lumMod val="100000"/>
                    </a:schemeClr>
                  </a:solidFill>
                </a:rPr>
                <a:t>environment with Python </a:t>
              </a:r>
              <a:r>
                <a:rPr lang="en-US" sz="1800" dirty="0" smtClean="0">
                  <a:solidFill>
                    <a:schemeClr val="tx1">
                      <a:lumMod val="100000"/>
                    </a:schemeClr>
                  </a:solidFill>
                </a:rPr>
                <a:t>3.6</a:t>
              </a:r>
              <a:endParaRPr lang="en-US" sz="1800" dirty="0">
                <a:solidFill>
                  <a:schemeClr val="tx1">
                    <a:lumMod val="100000"/>
                  </a:schemeClr>
                </a:solidFill>
              </a:endParaRPr>
            </a:p>
            <a:p>
              <a:pPr marL="108000" lvl="1" indent="0">
                <a:buClr>
                  <a:schemeClr val="tx2">
                    <a:lumMod val="100000"/>
                  </a:schemeClr>
                </a:buClr>
                <a:buSzPct val="100000"/>
                <a:buNone/>
              </a:pPr>
              <a:endParaRPr lang="en-US" sz="1800" dirty="0" smtClean="0">
                <a:latin typeface="+mn-lt"/>
              </a:endParaRPr>
            </a:p>
            <a:p>
              <a:r>
                <a:rPr lang="en-US" sz="1800" dirty="0" smtClean="0">
                  <a:latin typeface="+mn-lt"/>
                </a:rPr>
                <a:t> </a:t>
              </a:r>
              <a:endParaRPr lang="en-US" sz="1800" dirty="0">
                <a:latin typeface="+mn-lt"/>
              </a:endParaRPr>
            </a:p>
          </p:txBody>
        </p:sp>
        <p:sp>
          <p:nvSpPr>
            <p:cNvPr id="15" name="ee4pHeader2"/>
            <p:cNvSpPr txBox="1"/>
            <p:nvPr/>
          </p:nvSpPr>
          <p:spPr>
            <a:xfrm>
              <a:off x="4533630" y="1015200"/>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Use case 1</a:t>
              </a:r>
              <a:endParaRPr lang="en-US" sz="2400" dirty="0">
                <a:solidFill>
                  <a:schemeClr val="tx2"/>
                </a:solidFill>
              </a:endParaRPr>
            </a:p>
          </p:txBody>
        </p:sp>
      </p:grpSp>
      <p:grpSp>
        <p:nvGrpSpPr>
          <p:cNvPr id="12" name="Group 11"/>
          <p:cNvGrpSpPr/>
          <p:nvPr/>
        </p:nvGrpSpPr>
        <p:grpSpPr>
          <a:xfrm>
            <a:off x="8197166" y="1872060"/>
            <a:ext cx="3607324" cy="3710379"/>
            <a:chOff x="8197166" y="1015200"/>
            <a:chExt cx="3607324" cy="3710379"/>
          </a:xfrm>
        </p:grpSpPr>
        <p:sp>
          <p:nvSpPr>
            <p:cNvPr id="13" name="ee4pHeader3"/>
            <p:cNvSpPr txBox="1"/>
            <p:nvPr/>
          </p:nvSpPr>
          <p:spPr>
            <a:xfrm>
              <a:off x="8437858" y="1015200"/>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Use case 2</a:t>
              </a:r>
              <a:endParaRPr lang="en-US" sz="2400" dirty="0">
                <a:solidFill>
                  <a:schemeClr val="tx2"/>
                </a:solidFill>
              </a:endParaRPr>
            </a:p>
          </p:txBody>
        </p:sp>
        <p:sp>
          <p:nvSpPr>
            <p:cNvPr id="6" name="Rectangle 5"/>
            <p:cNvSpPr/>
            <p:nvPr/>
          </p:nvSpPr>
          <p:spPr>
            <a:xfrm>
              <a:off x="8197166" y="2140256"/>
              <a:ext cx="3607324" cy="2585323"/>
            </a:xfrm>
            <a:prstGeom prst="rect">
              <a:avLst/>
            </a:prstGeom>
          </p:spPr>
          <p:txBody>
            <a:bodyPr wrap="square" anchor="t">
              <a:spAutoFit/>
            </a:bodyPr>
            <a:lstStyle/>
            <a:p>
              <a:pPr marL="324000" lvl="1" indent="-216000">
                <a:buClr>
                  <a:schemeClr val="tx2">
                    <a:lumMod val="100000"/>
                  </a:schemeClr>
                </a:buClr>
                <a:buSzPct val="100000"/>
                <a:buFont typeface="Trebuchet MS" panose="020B0603020202020204" pitchFamily="34" charset="0"/>
                <a:buChar char="•"/>
              </a:pPr>
              <a:r>
                <a:rPr lang="en-US" dirty="0" smtClean="0">
                  <a:solidFill>
                    <a:schemeClr val="tx1">
                      <a:lumMod val="100000"/>
                    </a:schemeClr>
                  </a:solidFill>
                  <a:latin typeface="Trebuchet MS" panose="020B0603020202020204" pitchFamily="34" charset="0"/>
                </a:rPr>
                <a:t>Docker </a:t>
              </a:r>
              <a:r>
                <a:rPr lang="en-US" dirty="0">
                  <a:solidFill>
                    <a:schemeClr val="tx1">
                      <a:lumMod val="100000"/>
                    </a:schemeClr>
                  </a:solidFill>
                  <a:latin typeface="Trebuchet MS" panose="020B0603020202020204" pitchFamily="34" charset="0"/>
                </a:rPr>
                <a:t>environment with Python interpreter from the model service. See getting started of the </a:t>
              </a:r>
              <a:r>
                <a:rPr lang="en-US" dirty="0" smtClean="0">
                  <a:solidFill>
                    <a:schemeClr val="tx1">
                      <a:lumMod val="100000"/>
                    </a:schemeClr>
                  </a:solidFill>
                  <a:latin typeface="Trebuchet MS" panose="020B0603020202020204" pitchFamily="34" charset="0"/>
                </a:rPr>
                <a:t>README.md </a:t>
              </a:r>
              <a:r>
                <a:rPr lang="en-US" dirty="0" smtClean="0">
                  <a:solidFill>
                    <a:srgbClr val="29BA74"/>
                  </a:solidFill>
                </a:rPr>
                <a:t>(Recommended)</a:t>
              </a:r>
            </a:p>
            <a:p>
              <a:pPr lvl="1">
                <a:buClr>
                  <a:schemeClr val="tx2">
                    <a:lumMod val="100000"/>
                  </a:schemeClr>
                </a:buClr>
                <a:buSzPct val="100000"/>
              </a:pPr>
              <a:endParaRPr lang="en-US" dirty="0">
                <a:solidFill>
                  <a:srgbClr val="29BA74"/>
                </a:solidFill>
              </a:endParaRPr>
            </a:p>
            <a:p>
              <a:pPr marL="324000" lvl="1" indent="-216000">
                <a:buClr>
                  <a:schemeClr val="tx2">
                    <a:lumMod val="100000"/>
                  </a:schemeClr>
                </a:buClr>
                <a:buSzPct val="100000"/>
                <a:buFont typeface="Trebuchet MS" panose="020B0603020202020204" pitchFamily="34" charset="0"/>
                <a:buChar char="•"/>
              </a:pPr>
              <a:r>
                <a:rPr lang="en-US" dirty="0" smtClean="0">
                  <a:solidFill>
                    <a:schemeClr val="tx1">
                      <a:lumMod val="100000"/>
                    </a:schemeClr>
                  </a:solidFill>
                  <a:latin typeface="Trebuchet MS" panose="020B0603020202020204" pitchFamily="34" charset="0"/>
                </a:rPr>
                <a:t>Or </a:t>
              </a:r>
              <a:r>
                <a:rPr lang="en-US" dirty="0" err="1">
                  <a:solidFill>
                    <a:schemeClr val="tx1">
                      <a:lumMod val="100000"/>
                    </a:schemeClr>
                  </a:solidFill>
                  <a:latin typeface="Trebuchet MS" panose="020B0603020202020204" pitchFamily="34" charset="0"/>
                </a:rPr>
                <a:t>Conda</a:t>
              </a:r>
              <a:r>
                <a:rPr lang="en-US" dirty="0">
                  <a:solidFill>
                    <a:schemeClr val="tx1">
                      <a:lumMod val="100000"/>
                    </a:schemeClr>
                  </a:solidFill>
                  <a:latin typeface="Trebuchet MS" panose="020B0603020202020204" pitchFamily="34" charset="0"/>
                </a:rPr>
                <a:t> environment with Python 3.6</a:t>
              </a:r>
            </a:p>
            <a:p>
              <a:pPr marL="324000" lvl="1" indent="-216000">
                <a:buClr>
                  <a:schemeClr val="tx2">
                    <a:lumMod val="100000"/>
                  </a:schemeClr>
                </a:buClr>
                <a:buSzPct val="100000"/>
                <a:buFont typeface="Trebuchet MS" panose="020B0603020202020204" pitchFamily="34" charset="0"/>
                <a:buChar char="•"/>
              </a:pPr>
              <a:endParaRPr lang="en-US" dirty="0" smtClean="0">
                <a:solidFill>
                  <a:schemeClr val="tx1">
                    <a:lumMod val="100000"/>
                  </a:schemeClr>
                </a:solidFill>
                <a:latin typeface="Trebuchet MS" panose="020B0603020202020204" pitchFamily="34" charset="0"/>
              </a:endParaRPr>
            </a:p>
          </p:txBody>
        </p:sp>
      </p:grpSp>
      <p:grpSp>
        <p:nvGrpSpPr>
          <p:cNvPr id="10" name="Group 9"/>
          <p:cNvGrpSpPr/>
          <p:nvPr/>
        </p:nvGrpSpPr>
        <p:grpSpPr>
          <a:xfrm>
            <a:off x="366955" y="1872060"/>
            <a:ext cx="3649952" cy="4498181"/>
            <a:chOff x="366955" y="1015200"/>
            <a:chExt cx="3649952" cy="4498181"/>
          </a:xfrm>
        </p:grpSpPr>
        <p:sp>
          <p:nvSpPr>
            <p:cNvPr id="17" name="ee4pHeader1"/>
            <p:cNvSpPr txBox="1"/>
            <p:nvPr/>
          </p:nvSpPr>
          <p:spPr>
            <a:xfrm>
              <a:off x="630000" y="1015200"/>
              <a:ext cx="3123862"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Introduction</a:t>
              </a:r>
              <a:endParaRPr lang="en-US" sz="2400" dirty="0">
                <a:solidFill>
                  <a:schemeClr val="tx2"/>
                </a:solidFill>
              </a:endParaRPr>
            </a:p>
          </p:txBody>
        </p:sp>
        <p:sp>
          <p:nvSpPr>
            <p:cNvPr id="5" name="TextBox 4"/>
            <p:cNvSpPr txBox="1"/>
            <p:nvPr/>
          </p:nvSpPr>
          <p:spPr>
            <a:xfrm>
              <a:off x="366955" y="2140256"/>
              <a:ext cx="3649952" cy="33731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r>
                <a:rPr lang="en-US" dirty="0" err="1" smtClean="0">
                  <a:solidFill>
                    <a:schemeClr val="tx1">
                      <a:lumMod val="100000"/>
                    </a:schemeClr>
                  </a:solidFill>
                  <a:latin typeface="Trebuchet MS" panose="020B0603020202020204" pitchFamily="34" charset="0"/>
                </a:rPr>
                <a:t>Conda</a:t>
              </a:r>
              <a:r>
                <a:rPr lang="en-US" dirty="0" smtClean="0">
                  <a:solidFill>
                    <a:schemeClr val="tx1">
                      <a:lumMod val="100000"/>
                    </a:schemeClr>
                  </a:solidFill>
                  <a:latin typeface="Trebuchet MS" panose="020B0603020202020204" pitchFamily="34" charset="0"/>
                </a:rPr>
                <a:t> environment with Python 3.6 </a:t>
              </a:r>
              <a:r>
                <a:rPr lang="en-US" dirty="0" smtClean="0">
                  <a:solidFill>
                    <a:srgbClr val="29BA74"/>
                  </a:solidFill>
                  <a:latin typeface="Trebuchet MS" panose="020B0603020202020204" pitchFamily="34" charset="0"/>
                </a:rPr>
                <a:t>(Recommended)</a:t>
              </a:r>
            </a:p>
            <a:p>
              <a:pPr marL="324000" lvl="1" indent="-216000">
                <a:buClr>
                  <a:schemeClr val="tx2">
                    <a:lumMod val="100000"/>
                  </a:schemeClr>
                </a:buClr>
                <a:buSzPct val="100000"/>
                <a:buFont typeface="Trebuchet MS" panose="020B0603020202020204" pitchFamily="34" charset="0"/>
                <a:buChar char="•"/>
              </a:pPr>
              <a:endParaRPr lang="en-US"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endParaRPr lang="en-US" dirty="0" smtClean="0">
                <a:solidFill>
                  <a:schemeClr val="tx1">
                    <a:lumMod val="100000"/>
                  </a:schemeClr>
                </a:solidFill>
                <a:latin typeface="Trebuchet MS" panose="020B0603020202020204" pitchFamily="34" charset="0"/>
              </a:endParaRPr>
            </a:p>
            <a:p>
              <a:endParaRPr lang="en-US" dirty="0">
                <a:solidFill>
                  <a:srgbClr val="575757"/>
                </a:solidFill>
              </a:endParaRPr>
            </a:p>
            <a:p>
              <a:pPr marL="324000" lvl="1" indent="-216000">
                <a:buClr>
                  <a:schemeClr val="tx2">
                    <a:lumMod val="100000"/>
                  </a:schemeClr>
                </a:buClr>
                <a:buSzPct val="100000"/>
                <a:buFont typeface="Trebuchet MS" panose="020B0603020202020204" pitchFamily="34" charset="0"/>
                <a:buChar char="•"/>
              </a:pPr>
              <a:endParaRPr lang="en-US" dirty="0" smtClean="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dirty="0" smtClean="0">
                  <a:solidFill>
                    <a:schemeClr val="tx1">
                      <a:lumMod val="100000"/>
                    </a:schemeClr>
                  </a:solidFill>
                  <a:latin typeface="Trebuchet MS" panose="020B0603020202020204" pitchFamily="34" charset="0"/>
                </a:rPr>
                <a:t>Or Python 3.6 virtual </a:t>
              </a:r>
              <a:r>
                <a:rPr lang="en-US" dirty="0" err="1" smtClean="0">
                  <a:solidFill>
                    <a:schemeClr val="tx1">
                      <a:lumMod val="100000"/>
                    </a:schemeClr>
                  </a:solidFill>
                  <a:latin typeface="Trebuchet MS" panose="020B0603020202020204" pitchFamily="34" charset="0"/>
                </a:rPr>
                <a:t>env</a:t>
              </a:r>
              <a:endParaRPr lang="en-US" dirty="0" smtClean="0">
                <a:solidFill>
                  <a:schemeClr val="tx1">
                    <a:lumMod val="100000"/>
                  </a:schemeClr>
                </a:solidFill>
                <a:latin typeface="Trebuchet MS" panose="020B0603020202020204" pitchFamily="34" charset="0"/>
              </a:endParaRPr>
            </a:p>
          </p:txBody>
        </p:sp>
        <p:sp>
          <p:nvSpPr>
            <p:cNvPr id="7" name="Rectangle 6"/>
            <p:cNvSpPr/>
            <p:nvPr/>
          </p:nvSpPr>
          <p:spPr>
            <a:xfrm>
              <a:off x="529016" y="2870388"/>
              <a:ext cx="3325830" cy="646331"/>
            </a:xfrm>
            <a:prstGeom prst="rect">
              <a:avLst/>
            </a:prstGeom>
            <a:solidFill>
              <a:srgbClr val="FFFFFF"/>
            </a:solidFill>
            <a:ln w="9525" cap="flat" cmpd="sng" algn="ctr">
              <a:solidFill>
                <a:srgbClr val="6E6F73"/>
              </a:solidFill>
              <a:prstDash val="solid"/>
              <a:round/>
              <a:headEnd type="none" w="med" len="med"/>
              <a:tailEnd type="none" w="med" len="med"/>
            </a:ln>
          </p:spPr>
          <p:txBody>
            <a:bodyPr wrap="square">
              <a:spAutoFit/>
            </a:bodyPr>
            <a:lstStyle/>
            <a:p>
              <a:r>
                <a:rPr lang="en-US" sz="1200" dirty="0" smtClean="0">
                  <a:solidFill>
                    <a:srgbClr val="000000"/>
                  </a:solidFill>
                  <a:latin typeface="Consolas" panose="020B0609020204030204" pitchFamily="49" charset="0"/>
                </a:rPr>
                <a:t>&gt;&gt;&gt; </a:t>
              </a:r>
              <a:r>
                <a:rPr lang="pt-BR" sz="1200" dirty="0" smtClean="0">
                  <a:solidFill>
                    <a:srgbClr val="29BA74"/>
                  </a:solidFill>
                  <a:latin typeface="Consolas" panose="020B0609020204030204" pitchFamily="49" charset="0"/>
                </a:rPr>
                <a:t>conda </a:t>
              </a:r>
              <a:r>
                <a:rPr lang="pt-BR" sz="1200" dirty="0" err="1" smtClean="0">
                  <a:solidFill>
                    <a:srgbClr val="000000"/>
                  </a:solidFill>
                  <a:latin typeface="Consolas" panose="020B0609020204030204" pitchFamily="49" charset="0"/>
                </a:rPr>
                <a:t>create</a:t>
              </a:r>
              <a:r>
                <a:rPr lang="pt-BR" sz="1200" dirty="0" smtClean="0">
                  <a:solidFill>
                    <a:srgbClr val="000000"/>
                  </a:solidFill>
                  <a:latin typeface="Consolas" panose="020B0609020204030204" pitchFamily="49" charset="0"/>
                </a:rPr>
                <a:t> -n </a:t>
              </a:r>
              <a:r>
                <a:rPr lang="pt-BR" sz="1200" dirty="0" err="1" smtClean="0">
                  <a:solidFill>
                    <a:srgbClr val="000000"/>
                  </a:solidFill>
                  <a:latin typeface="Consolas" panose="020B0609020204030204" pitchFamily="49" charset="0"/>
                </a:rPr>
                <a:t>training-se</a:t>
              </a:r>
              <a:r>
                <a:rPr lang="pt-BR" sz="1200" dirty="0" smtClean="0">
                  <a:solidFill>
                    <a:srgbClr val="000000"/>
                  </a:solidFill>
                  <a:latin typeface="Consolas" panose="020B0609020204030204" pitchFamily="49" charset="0"/>
                </a:rPr>
                <a:t> </a:t>
              </a:r>
              <a:r>
                <a:rPr lang="pt-BR" sz="1200" dirty="0" err="1" smtClean="0">
                  <a:solidFill>
                    <a:srgbClr val="000000"/>
                  </a:solidFill>
                  <a:latin typeface="Consolas" panose="020B0609020204030204" pitchFamily="49" charset="0"/>
                </a:rPr>
                <a:t>pip</a:t>
              </a:r>
              <a:r>
                <a:rPr lang="pt-BR" sz="1200" dirty="0" smtClean="0">
                  <a:solidFill>
                    <a:srgbClr val="000000"/>
                  </a:solidFill>
                  <a:latin typeface="Consolas" panose="020B0609020204030204" pitchFamily="49" charset="0"/>
                </a:rPr>
                <a:t> </a:t>
              </a:r>
              <a:r>
                <a:rPr lang="pt-BR" sz="1200" dirty="0" err="1" smtClean="0">
                  <a:solidFill>
                    <a:srgbClr val="000000"/>
                  </a:solidFill>
                  <a:latin typeface="Consolas" panose="020B0609020204030204" pitchFamily="49" charset="0"/>
                </a:rPr>
                <a:t>python</a:t>
              </a:r>
              <a:r>
                <a:rPr lang="pt-BR" sz="1200" dirty="0" smtClean="0">
                  <a:solidFill>
                    <a:srgbClr val="000000"/>
                  </a:solidFill>
                  <a:latin typeface="Consolas" panose="020B0609020204030204" pitchFamily="49" charset="0"/>
                </a:rPr>
                <a:t>==3.6.9 </a:t>
              </a:r>
            </a:p>
            <a:p>
              <a:r>
                <a:rPr lang="pt-BR" sz="1200" dirty="0" smtClean="0">
                  <a:solidFill>
                    <a:srgbClr val="000000"/>
                  </a:solidFill>
                  <a:latin typeface="Consolas" panose="020B0609020204030204" pitchFamily="49" charset="0"/>
                </a:rPr>
                <a:t>&gt;&gt;&gt; </a:t>
              </a:r>
              <a:r>
                <a:rPr lang="pt-BR" sz="1200" dirty="0" smtClean="0">
                  <a:solidFill>
                    <a:srgbClr val="29BA74"/>
                  </a:solidFill>
                  <a:latin typeface="Consolas" panose="020B0609020204030204" pitchFamily="49" charset="0"/>
                </a:rPr>
                <a:t>conda </a:t>
              </a:r>
              <a:r>
                <a:rPr lang="pt-BR" sz="1200" dirty="0" err="1" smtClean="0">
                  <a:solidFill>
                    <a:srgbClr val="000000"/>
                  </a:solidFill>
                  <a:latin typeface="Consolas" panose="020B0609020204030204" pitchFamily="49" charset="0"/>
                </a:rPr>
                <a:t>activate</a:t>
              </a:r>
              <a:r>
                <a:rPr lang="pt-BR" sz="1200" dirty="0" smtClean="0">
                  <a:solidFill>
                    <a:srgbClr val="000000"/>
                  </a:solidFill>
                  <a:latin typeface="Consolas" panose="020B0609020204030204" pitchFamily="49" charset="0"/>
                </a:rPr>
                <a:t> </a:t>
              </a:r>
              <a:r>
                <a:rPr lang="pt-BR" sz="1200" dirty="0" err="1" smtClean="0">
                  <a:solidFill>
                    <a:srgbClr val="000000"/>
                  </a:solidFill>
                  <a:latin typeface="Consolas" panose="020B0609020204030204" pitchFamily="49" charset="0"/>
                </a:rPr>
                <a:t>training-se</a:t>
              </a:r>
              <a:r>
                <a:rPr lang="en-US" sz="1200" dirty="0" smtClean="0">
                  <a:solidFill>
                    <a:srgbClr val="000000"/>
                  </a:solidFill>
                  <a:latin typeface="Consolas" panose="020B0609020204030204" pitchFamily="49" charset="0"/>
                </a:rPr>
                <a:t> </a:t>
              </a:r>
              <a:endParaRPr lang="en-US" sz="1200" dirty="0">
                <a:solidFill>
                  <a:srgbClr val="5C5C5C"/>
                </a:solidFill>
                <a:latin typeface="Consolas" panose="020B0609020204030204" pitchFamily="49" charset="0"/>
              </a:endParaRPr>
            </a:p>
          </p:txBody>
        </p:sp>
      </p:grpSp>
    </p:spTree>
    <p:custDataLst>
      <p:tags r:id="rId2"/>
    </p:custDataLst>
    <p:extLst>
      <p:ext uri="{BB962C8B-B14F-4D97-AF65-F5344CB8AC3E}">
        <p14:creationId xmlns:p14="http://schemas.microsoft.com/office/powerpoint/2010/main" val="3644356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41617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35"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Use Cases Exercises (Reminder)</a:t>
            </a:r>
          </a:p>
        </p:txBody>
      </p:sp>
      <p:sp>
        <p:nvSpPr>
          <p:cNvPr id="5" name="TextBox 4"/>
          <p:cNvSpPr txBox="1"/>
          <p:nvPr/>
        </p:nvSpPr>
        <p:spPr>
          <a:xfrm>
            <a:off x="562930" y="2509068"/>
            <a:ext cx="5314114" cy="30531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575757"/>
                </a:solidFill>
              </a:rPr>
              <a:t>The goal of those exercises is to reproduce what happens on a </a:t>
            </a:r>
            <a:r>
              <a:rPr lang="en-US" dirty="0" smtClean="0">
                <a:solidFill>
                  <a:srgbClr val="575757"/>
                </a:solidFill>
              </a:rPr>
              <a:t>real case.</a:t>
            </a:r>
            <a:endParaRPr lang="en-US" dirty="0">
              <a:solidFill>
                <a:srgbClr val="575757"/>
              </a:solidFill>
            </a:endParaRPr>
          </a:p>
          <a:p>
            <a:endParaRPr lang="en-US" dirty="0">
              <a:solidFill>
                <a:srgbClr val="575757"/>
              </a:solidFill>
            </a:endParaRPr>
          </a:p>
          <a:p>
            <a:r>
              <a:rPr lang="en-US" dirty="0" smtClean="0">
                <a:solidFill>
                  <a:srgbClr val="575757"/>
                </a:solidFill>
              </a:rPr>
              <a:t>From a </a:t>
            </a:r>
            <a:r>
              <a:rPr lang="en-US" dirty="0">
                <a:solidFill>
                  <a:srgbClr val="29BA74"/>
                </a:solidFill>
              </a:rPr>
              <a:t>first draft </a:t>
            </a:r>
            <a:r>
              <a:rPr lang="en-US" dirty="0">
                <a:solidFill>
                  <a:srgbClr val="575757"/>
                </a:solidFill>
              </a:rPr>
              <a:t>of the code on a </a:t>
            </a:r>
            <a:r>
              <a:rPr lang="en-US" dirty="0" err="1" smtClean="0">
                <a:solidFill>
                  <a:srgbClr val="575757"/>
                </a:solidFill>
              </a:rPr>
              <a:t>Jupyter</a:t>
            </a:r>
            <a:r>
              <a:rPr lang="en-US" dirty="0" smtClean="0">
                <a:solidFill>
                  <a:srgbClr val="575757"/>
                </a:solidFill>
              </a:rPr>
              <a:t> </a:t>
            </a:r>
            <a:r>
              <a:rPr lang="en-US" dirty="0">
                <a:solidFill>
                  <a:srgbClr val="575757"/>
                </a:solidFill>
              </a:rPr>
              <a:t>Notebook, </a:t>
            </a:r>
            <a:r>
              <a:rPr lang="en-US" dirty="0" smtClean="0">
                <a:solidFill>
                  <a:srgbClr val="575757"/>
                </a:solidFill>
              </a:rPr>
              <a:t>you will implement:</a:t>
            </a:r>
          </a:p>
          <a:p>
            <a:pPr marL="742950" lvl="1" indent="-285750">
              <a:buFontTx/>
              <a:buChar char="-"/>
            </a:pPr>
            <a:r>
              <a:rPr lang="en-US" dirty="0" smtClean="0">
                <a:solidFill>
                  <a:srgbClr val="575757"/>
                </a:solidFill>
              </a:rPr>
              <a:t>A first and basic python module </a:t>
            </a:r>
            <a:r>
              <a:rPr lang="en-US" dirty="0" smtClean="0">
                <a:solidFill>
                  <a:srgbClr val="29BA74"/>
                </a:solidFill>
              </a:rPr>
              <a:t>(UC1)</a:t>
            </a:r>
          </a:p>
          <a:p>
            <a:pPr marL="742950" lvl="1" indent="-285750">
              <a:buFontTx/>
              <a:buChar char="-"/>
            </a:pPr>
            <a:r>
              <a:rPr lang="en-US" dirty="0" smtClean="0">
                <a:solidFill>
                  <a:srgbClr val="575757"/>
                </a:solidFill>
              </a:rPr>
              <a:t>A production python module </a:t>
            </a:r>
            <a:r>
              <a:rPr lang="en-US" dirty="0" smtClean="0">
                <a:solidFill>
                  <a:srgbClr val="29BA74"/>
                </a:solidFill>
              </a:rPr>
              <a:t>(UC2)</a:t>
            </a:r>
            <a:endParaRPr lang="en-US" dirty="0">
              <a:solidFill>
                <a:srgbClr val="29BA74"/>
              </a:solidFill>
            </a:endParaRPr>
          </a:p>
          <a:p>
            <a:endParaRPr lang="en-US" dirty="0">
              <a:solidFill>
                <a:srgbClr val="575757"/>
              </a:solidFill>
            </a:endParaRPr>
          </a:p>
          <a:p>
            <a:r>
              <a:rPr lang="en-US" dirty="0" smtClean="0">
                <a:solidFill>
                  <a:srgbClr val="575757"/>
                </a:solidFill>
              </a:rPr>
              <a:t>Each exercise focuses on a specific subject from the lectures. </a:t>
            </a:r>
            <a:endParaRPr lang="en-US" dirty="0">
              <a:solidFill>
                <a:srgbClr val="575757"/>
              </a:solidFill>
            </a:endParaRPr>
          </a:p>
        </p:txBody>
      </p:sp>
      <p:grpSp>
        <p:nvGrpSpPr>
          <p:cNvPr id="19" name="Group 18"/>
          <p:cNvGrpSpPr>
            <a:grpSpLocks noChangeAspect="1"/>
          </p:cNvGrpSpPr>
          <p:nvPr/>
        </p:nvGrpSpPr>
        <p:grpSpPr>
          <a:xfrm>
            <a:off x="351413" y="2592633"/>
            <a:ext cx="211367" cy="211367"/>
            <a:chOff x="982662" y="1847850"/>
            <a:chExt cx="269875" cy="269875"/>
          </a:xfrm>
        </p:grpSpPr>
        <p:sp>
          <p:nvSpPr>
            <p:cNvPr id="20"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p:cNvGrpSpPr>
            <a:grpSpLocks noChangeAspect="1"/>
          </p:cNvGrpSpPr>
          <p:nvPr/>
        </p:nvGrpSpPr>
        <p:grpSpPr>
          <a:xfrm>
            <a:off x="351413" y="3408206"/>
            <a:ext cx="211367" cy="211367"/>
            <a:chOff x="982662" y="1847850"/>
            <a:chExt cx="269875" cy="269875"/>
          </a:xfrm>
        </p:grpSpPr>
        <p:sp>
          <p:nvSpPr>
            <p:cNvPr id="2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1" name="Group 30"/>
          <p:cNvGrpSpPr>
            <a:grpSpLocks noChangeAspect="1"/>
          </p:cNvGrpSpPr>
          <p:nvPr/>
        </p:nvGrpSpPr>
        <p:grpSpPr>
          <a:xfrm>
            <a:off x="351413" y="4796337"/>
            <a:ext cx="211367" cy="211367"/>
            <a:chOff x="982662" y="1847850"/>
            <a:chExt cx="269875" cy="269875"/>
          </a:xfrm>
        </p:grpSpPr>
        <p:sp>
          <p:nvSpPr>
            <p:cNvPr id="3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4" name="Group 33"/>
          <p:cNvGrpSpPr/>
          <p:nvPr/>
        </p:nvGrpSpPr>
        <p:grpSpPr>
          <a:xfrm>
            <a:off x="5942914" y="2081213"/>
            <a:ext cx="306171" cy="4079081"/>
            <a:chOff x="5942914" y="2081213"/>
            <a:chExt cx="306171" cy="4079081"/>
          </a:xfrm>
        </p:grpSpPr>
        <p:cxnSp>
          <p:nvCxnSpPr>
            <p:cNvPr id="35" name="Straight Connector 34"/>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942914" y="3967299"/>
              <a:ext cx="306171" cy="306910"/>
              <a:chOff x="5937564" y="3833745"/>
              <a:chExt cx="306171" cy="306910"/>
            </a:xfrm>
          </p:grpSpPr>
          <p:sp>
            <p:nvSpPr>
              <p:cNvPr id="37"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8"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6" name="Group 5"/>
          <p:cNvGrpSpPr/>
          <p:nvPr/>
        </p:nvGrpSpPr>
        <p:grpSpPr>
          <a:xfrm>
            <a:off x="6528867" y="1913065"/>
            <a:ext cx="5056753" cy="853806"/>
            <a:chOff x="6528867" y="1913065"/>
            <a:chExt cx="5056753" cy="853806"/>
          </a:xfrm>
        </p:grpSpPr>
        <p:sp>
          <p:nvSpPr>
            <p:cNvPr id="39" name="Oval 38"/>
            <p:cNvSpPr/>
            <p:nvPr/>
          </p:nvSpPr>
          <p:spPr>
            <a:xfrm>
              <a:off x="6528867" y="1913065"/>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pic>
          <p:nvPicPr>
            <p:cNvPr id="40" name="Picture 17" descr="Résultat de recherche d'images pour &quot;github&quo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78098" y="2051659"/>
              <a:ext cx="547306" cy="547306"/>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7482250" y="1935874"/>
              <a:ext cx="4103370" cy="830997"/>
            </a:xfrm>
            <a:prstGeom prst="rect">
              <a:avLst/>
            </a:prstGeom>
          </p:spPr>
          <p:txBody>
            <a:bodyPr wrap="square">
              <a:spAutoFit/>
            </a:bodyPr>
            <a:lstStyle/>
            <a:p>
              <a:r>
                <a:rPr lang="en-US" sz="1600" dirty="0">
                  <a:solidFill>
                    <a:srgbClr val="575757"/>
                  </a:solidFill>
                </a:rPr>
                <a:t>All the exercises are available </a:t>
              </a:r>
              <a:r>
                <a:rPr lang="en-US" sz="1600" dirty="0" smtClean="0">
                  <a:solidFill>
                    <a:srgbClr val="575757"/>
                  </a:solidFill>
                </a:rPr>
                <a:t>here </a:t>
              </a:r>
              <a:r>
                <a:rPr lang="fr-FR" sz="1600" dirty="0" smtClean="0">
                  <a:hlinkClick r:id="rId10"/>
                </a:rPr>
                <a:t>https</a:t>
              </a:r>
              <a:r>
                <a:rPr lang="fr-FR" sz="1600" dirty="0">
                  <a:hlinkClick r:id="rId10"/>
                </a:rPr>
                <a:t>://git.sourceai.io/swe-training/training-se</a:t>
              </a:r>
              <a:endParaRPr lang="en-US" sz="1600" dirty="0">
                <a:solidFill>
                  <a:srgbClr val="575757"/>
                </a:solidFill>
              </a:endParaRPr>
            </a:p>
          </p:txBody>
        </p:sp>
      </p:grpSp>
      <p:grpSp>
        <p:nvGrpSpPr>
          <p:cNvPr id="8" name="Group 7"/>
          <p:cNvGrpSpPr/>
          <p:nvPr/>
        </p:nvGrpSpPr>
        <p:grpSpPr>
          <a:xfrm>
            <a:off x="6528867" y="5076877"/>
            <a:ext cx="5442349" cy="854889"/>
            <a:chOff x="6528867" y="5076877"/>
            <a:chExt cx="5442349" cy="854889"/>
          </a:xfrm>
        </p:grpSpPr>
        <p:sp>
          <p:nvSpPr>
            <p:cNvPr id="42" name="Oval 41"/>
            <p:cNvSpPr/>
            <p:nvPr/>
          </p:nvSpPr>
          <p:spPr>
            <a:xfrm>
              <a:off x="6528867" y="5076877"/>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16" name="Rectangle 15"/>
            <p:cNvSpPr/>
            <p:nvPr/>
          </p:nvSpPr>
          <p:spPr>
            <a:xfrm>
              <a:off x="7482250" y="5100769"/>
              <a:ext cx="4488966" cy="830997"/>
            </a:xfrm>
            <a:prstGeom prst="rect">
              <a:avLst/>
            </a:prstGeom>
          </p:spPr>
          <p:txBody>
            <a:bodyPr wrap="square">
              <a:spAutoFit/>
            </a:bodyPr>
            <a:lstStyle/>
            <a:p>
              <a:r>
                <a:rPr lang="en-US" sz="1600" dirty="0">
                  <a:solidFill>
                    <a:srgbClr val="575757"/>
                  </a:solidFill>
                </a:rPr>
                <a:t>For each exercise </a:t>
              </a:r>
              <a:r>
                <a:rPr lang="en-US" sz="1600" dirty="0">
                  <a:solidFill>
                    <a:srgbClr val="29BA74"/>
                  </a:solidFill>
                </a:rPr>
                <a:t>pull the associated </a:t>
              </a:r>
              <a:r>
                <a:rPr lang="en-US" sz="1600" dirty="0" smtClean="0">
                  <a:solidFill>
                    <a:srgbClr val="29BA74"/>
                  </a:solidFill>
                </a:rPr>
                <a:t>branch.</a:t>
              </a:r>
              <a:endParaRPr lang="en-US" sz="1600" dirty="0">
                <a:solidFill>
                  <a:srgbClr val="29BA74"/>
                </a:solidFill>
              </a:endParaRPr>
            </a:p>
            <a:p>
              <a:r>
                <a:rPr lang="en-US" sz="1600" dirty="0">
                  <a:solidFill>
                    <a:srgbClr val="575757"/>
                  </a:solidFill>
                </a:rPr>
                <a:t>Follow the instructions in </a:t>
              </a:r>
              <a:r>
                <a:rPr lang="en-US" sz="1600" dirty="0">
                  <a:solidFill>
                    <a:srgbClr val="29BA74"/>
                  </a:solidFill>
                </a:rPr>
                <a:t>EXERCISES.md</a:t>
              </a:r>
            </a:p>
            <a:p>
              <a:r>
                <a:rPr lang="en-US" sz="1600" dirty="0">
                  <a:solidFill>
                    <a:srgbClr val="575757"/>
                  </a:solidFill>
                </a:rPr>
                <a:t>Ask for help if </a:t>
              </a:r>
              <a:r>
                <a:rPr lang="en-US" sz="1600" dirty="0" smtClean="0">
                  <a:solidFill>
                    <a:srgbClr val="575757"/>
                  </a:solidFill>
                </a:rPr>
                <a:t>needed. </a:t>
              </a:r>
            </a:p>
          </p:txBody>
        </p:sp>
        <p:grpSp>
          <p:nvGrpSpPr>
            <p:cNvPr id="43" name="Group 9">
              <a:extLst>
                <a:ext uri="{FF2B5EF4-FFF2-40B4-BE49-F238E27FC236}">
                  <a16:creationId xmlns:a16="http://schemas.microsoft.com/office/drawing/2014/main" xmlns="" id="{FF79E2A5-2F0A-4EED-A03B-7A5A78388DE5}"/>
                </a:ext>
              </a:extLst>
            </p:cNvPr>
            <p:cNvGrpSpPr>
              <a:grpSpLocks noChangeAspect="1"/>
            </p:cNvGrpSpPr>
            <p:nvPr/>
          </p:nvGrpSpPr>
          <p:grpSpPr bwMode="auto">
            <a:xfrm>
              <a:off x="6558645" y="5156920"/>
              <a:ext cx="685047" cy="685681"/>
              <a:chOff x="1682" y="0"/>
              <a:chExt cx="4316" cy="4320"/>
            </a:xfrm>
          </p:grpSpPr>
          <p:sp>
            <p:nvSpPr>
              <p:cNvPr id="44" name="AutoShape 8">
                <a:extLst>
                  <a:ext uri="{FF2B5EF4-FFF2-40B4-BE49-F238E27FC236}">
                    <a16:creationId xmlns:a16="http://schemas.microsoft.com/office/drawing/2014/main" xmlns="" id="{78FC7EE5-8932-4C33-9719-CCEE0F5D250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4">
                <a:extLst>
                  <a:ext uri="{FF2B5EF4-FFF2-40B4-BE49-F238E27FC236}">
                    <a16:creationId xmlns:a16="http://schemas.microsoft.com/office/drawing/2014/main" xmlns="" id="{4E22E056-DA42-491D-BC65-67488E5F1E02}"/>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5">
                <a:extLst>
                  <a:ext uri="{FF2B5EF4-FFF2-40B4-BE49-F238E27FC236}">
                    <a16:creationId xmlns:a16="http://schemas.microsoft.com/office/drawing/2014/main" xmlns="" id="{3CE734FB-781A-4E8F-A14E-B5890FC0EDC8}"/>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 name="Group 6"/>
          <p:cNvGrpSpPr/>
          <p:nvPr/>
        </p:nvGrpSpPr>
        <p:grpSpPr>
          <a:xfrm>
            <a:off x="6528867" y="3260155"/>
            <a:ext cx="5056753" cy="1323439"/>
            <a:chOff x="6528867" y="3183862"/>
            <a:chExt cx="5056753" cy="1323439"/>
          </a:xfrm>
        </p:grpSpPr>
        <p:sp>
          <p:nvSpPr>
            <p:cNvPr id="41" name="Oval 40"/>
            <p:cNvSpPr/>
            <p:nvPr/>
          </p:nvSpPr>
          <p:spPr>
            <a:xfrm>
              <a:off x="6528867" y="3422697"/>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48" name="Rectangle 47"/>
            <p:cNvSpPr/>
            <p:nvPr/>
          </p:nvSpPr>
          <p:spPr>
            <a:xfrm>
              <a:off x="7482250" y="3183862"/>
              <a:ext cx="4103370" cy="1323439"/>
            </a:xfrm>
            <a:prstGeom prst="rect">
              <a:avLst/>
            </a:prstGeom>
          </p:spPr>
          <p:txBody>
            <a:bodyPr wrap="square">
              <a:spAutoFit/>
            </a:bodyPr>
            <a:lstStyle/>
            <a:p>
              <a:r>
                <a:rPr lang="en-US" sz="1600" dirty="0" smtClean="0">
                  <a:solidFill>
                    <a:srgbClr val="575757"/>
                  </a:solidFill>
                </a:rPr>
                <a:t>The instructions and documentation are in the </a:t>
              </a:r>
              <a:r>
                <a:rPr lang="en-US" sz="1600" dirty="0" smtClean="0">
                  <a:solidFill>
                    <a:srgbClr val="29BA74"/>
                  </a:solidFill>
                </a:rPr>
                <a:t>training-se</a:t>
              </a:r>
              <a:r>
                <a:rPr lang="en-US" sz="1600" dirty="0" smtClean="0">
                  <a:solidFill>
                    <a:srgbClr val="575757"/>
                  </a:solidFill>
                </a:rPr>
                <a:t> branch. Make sure you have set up the training environment with the </a:t>
              </a:r>
              <a:r>
                <a:rPr lang="en-US" sz="1600" dirty="0" smtClean="0">
                  <a:solidFill>
                    <a:srgbClr val="29BA74"/>
                  </a:solidFill>
                </a:rPr>
                <a:t>Prerequisites</a:t>
              </a:r>
              <a:r>
                <a:rPr lang="en-US" sz="1600" dirty="0" smtClean="0">
                  <a:solidFill>
                    <a:srgbClr val="575757"/>
                  </a:solidFill>
                </a:rPr>
                <a:t> and the </a:t>
              </a:r>
              <a:r>
                <a:rPr lang="en-US" sz="1600" dirty="0" smtClean="0">
                  <a:solidFill>
                    <a:srgbClr val="29BA74"/>
                  </a:solidFill>
                </a:rPr>
                <a:t>Getting started </a:t>
              </a:r>
              <a:r>
                <a:rPr lang="en-US" sz="1600" dirty="0" smtClean="0">
                  <a:solidFill>
                    <a:srgbClr val="575757"/>
                  </a:solidFill>
                </a:rPr>
                <a:t>from the </a:t>
              </a:r>
              <a:r>
                <a:rPr lang="en-US" sz="1600" dirty="0" smtClean="0">
                  <a:solidFill>
                    <a:srgbClr val="29BA74"/>
                  </a:solidFill>
                </a:rPr>
                <a:t>README.md</a:t>
              </a:r>
              <a:endParaRPr lang="en-US" sz="1600" dirty="0">
                <a:solidFill>
                  <a:srgbClr val="29BA74"/>
                </a:solidFill>
              </a:endParaRPr>
            </a:p>
          </p:txBody>
        </p:sp>
        <p:grpSp>
          <p:nvGrpSpPr>
            <p:cNvPr id="49" name="Group 48"/>
            <p:cNvGrpSpPr>
              <a:grpSpLocks noChangeAspect="1"/>
            </p:cNvGrpSpPr>
            <p:nvPr/>
          </p:nvGrpSpPr>
          <p:grpSpPr>
            <a:xfrm>
              <a:off x="6612462" y="3474133"/>
              <a:ext cx="685681" cy="685681"/>
              <a:chOff x="5273675" y="2606675"/>
              <a:chExt cx="1644650" cy="1644650"/>
            </a:xfrm>
          </p:grpSpPr>
          <p:sp>
            <p:nvSpPr>
              <p:cNvPr id="50"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p:cNvGrpSpPr/>
              <p:nvPr/>
            </p:nvGrpSpPr>
            <p:grpSpPr>
              <a:xfrm>
                <a:off x="5646738" y="2776540"/>
                <a:ext cx="898525" cy="1304923"/>
                <a:chOff x="5646738" y="2776540"/>
                <a:chExt cx="898525" cy="1304923"/>
              </a:xfrm>
            </p:grpSpPr>
            <p:sp>
              <p:nvSpPr>
                <p:cNvPr id="52" name="Freeform 51"/>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52"/>
                <p:cNvSpPr>
                  <a:spLocks/>
                </p:cNvSpPr>
                <p:nvPr/>
              </p:nvSpPr>
              <p:spPr bwMode="auto">
                <a:xfrm>
                  <a:off x="5795962" y="2776540"/>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spTree>
    <p:custDataLst>
      <p:tags r:id="rId2"/>
    </p:custDataLst>
    <p:extLst>
      <p:ext uri="{BB962C8B-B14F-4D97-AF65-F5344CB8AC3E}">
        <p14:creationId xmlns:p14="http://schemas.microsoft.com/office/powerpoint/2010/main" val="86525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2394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19"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Oval 15"/>
          <p:cNvSpPr/>
          <p:nvPr/>
        </p:nvSpPr>
        <p:spPr>
          <a:xfrm>
            <a:off x="1199206" y="1549362"/>
            <a:ext cx="1063701" cy="1063701"/>
          </a:xfrm>
          <a:prstGeom prst="ellipse">
            <a:avLst/>
          </a:prstGeom>
          <a:solidFill>
            <a:srgbClr val="FFFFFF"/>
          </a:solidFill>
          <a:ln w="28575"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3" name="Title 2"/>
          <p:cNvSpPr>
            <a:spLocks noGrp="1"/>
          </p:cNvSpPr>
          <p:nvPr>
            <p:ph type="title"/>
          </p:nvPr>
        </p:nvSpPr>
        <p:spPr>
          <a:xfrm>
            <a:off x="630000" y="521200"/>
            <a:ext cx="10933200" cy="443198"/>
          </a:xfrm>
        </p:spPr>
        <p:txBody>
          <a:bodyPr/>
          <a:lstStyle/>
          <a:p>
            <a:r>
              <a:rPr lang="en-US" sz="3200" dirty="0"/>
              <a:t>Demand Forecast Module, a representative Gamma Project</a:t>
            </a:r>
          </a:p>
        </p:txBody>
      </p:sp>
      <p:grpSp>
        <p:nvGrpSpPr>
          <p:cNvPr id="18" name="Group 17"/>
          <p:cNvGrpSpPr/>
          <p:nvPr/>
        </p:nvGrpSpPr>
        <p:grpSpPr>
          <a:xfrm>
            <a:off x="1375789" y="1827064"/>
            <a:ext cx="710534" cy="508297"/>
            <a:chOff x="-193119" y="906568"/>
            <a:chExt cx="2299010" cy="1644650"/>
          </a:xfrm>
        </p:grpSpPr>
        <p:grpSp>
          <p:nvGrpSpPr>
            <p:cNvPr id="5" name="Group 4"/>
            <p:cNvGrpSpPr>
              <a:grpSpLocks noChangeAspect="1"/>
            </p:cNvGrpSpPr>
            <p:nvPr/>
          </p:nvGrpSpPr>
          <p:grpSpPr>
            <a:xfrm>
              <a:off x="-193119" y="906568"/>
              <a:ext cx="1646237" cy="1644650"/>
              <a:chOff x="7110413" y="2607470"/>
              <a:chExt cx="1646237" cy="1644650"/>
            </a:xfrm>
          </p:grpSpPr>
          <p:sp>
            <p:nvSpPr>
              <p:cNvPr id="6" name="AutoShape 3"/>
              <p:cNvSpPr>
                <a:spLocks noChangeAspect="1" noChangeArrowheads="1" noTextEdit="1"/>
              </p:cNvSpPr>
              <p:nvPr/>
            </p:nvSpPr>
            <p:spPr bwMode="auto">
              <a:xfrm>
                <a:off x="7110413" y="2607470"/>
                <a:ext cx="1646237"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 name="Group 6"/>
              <p:cNvGrpSpPr/>
              <p:nvPr/>
            </p:nvGrpSpPr>
            <p:grpSpPr>
              <a:xfrm>
                <a:off x="7280275" y="2963863"/>
                <a:ext cx="1306512" cy="931863"/>
                <a:chOff x="7280275" y="2963863"/>
                <a:chExt cx="1306512" cy="931863"/>
              </a:xfrm>
            </p:grpSpPr>
            <p:sp>
              <p:nvSpPr>
                <p:cNvPr id="8" name="Freeform 7"/>
                <p:cNvSpPr>
                  <a:spLocks noEditPoints="1"/>
                </p:cNvSpPr>
                <p:nvPr/>
              </p:nvSpPr>
              <p:spPr bwMode="auto">
                <a:xfrm>
                  <a:off x="7280275" y="2963863"/>
                  <a:ext cx="1306512" cy="931863"/>
                </a:xfrm>
                <a:custGeom>
                  <a:avLst/>
                  <a:gdLst>
                    <a:gd name="T0" fmla="*/ 1806 w 1828"/>
                    <a:gd name="T1" fmla="*/ 0 h 1304"/>
                    <a:gd name="T2" fmla="*/ 22 w 1828"/>
                    <a:gd name="T3" fmla="*/ 0 h 1304"/>
                    <a:gd name="T4" fmla="*/ 0 w 1828"/>
                    <a:gd name="T5" fmla="*/ 22 h 1304"/>
                    <a:gd name="T6" fmla="*/ 0 w 1828"/>
                    <a:gd name="T7" fmla="*/ 1282 h 1304"/>
                    <a:gd name="T8" fmla="*/ 22 w 1828"/>
                    <a:gd name="T9" fmla="*/ 1304 h 1304"/>
                    <a:gd name="T10" fmla="*/ 1806 w 1828"/>
                    <a:gd name="T11" fmla="*/ 1304 h 1304"/>
                    <a:gd name="T12" fmla="*/ 1828 w 1828"/>
                    <a:gd name="T13" fmla="*/ 1282 h 1304"/>
                    <a:gd name="T14" fmla="*/ 1828 w 1828"/>
                    <a:gd name="T15" fmla="*/ 22 h 1304"/>
                    <a:gd name="T16" fmla="*/ 1806 w 1828"/>
                    <a:gd name="T17" fmla="*/ 0 h 1304"/>
                    <a:gd name="T18" fmla="*/ 1784 w 1828"/>
                    <a:gd name="T19" fmla="*/ 1260 h 1304"/>
                    <a:gd name="T20" fmla="*/ 44 w 1828"/>
                    <a:gd name="T21" fmla="*/ 1260 h 1304"/>
                    <a:gd name="T22" fmla="*/ 44 w 1828"/>
                    <a:gd name="T23" fmla="*/ 44 h 1304"/>
                    <a:gd name="T24" fmla="*/ 1784 w 1828"/>
                    <a:gd name="T25" fmla="*/ 44 h 1304"/>
                    <a:gd name="T26" fmla="*/ 1784 w 1828"/>
                    <a:gd name="T27" fmla="*/ 1260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304">
                      <a:moveTo>
                        <a:pt x="1806" y="0"/>
                      </a:moveTo>
                      <a:cubicBezTo>
                        <a:pt x="22" y="0"/>
                        <a:pt x="22" y="0"/>
                        <a:pt x="22" y="0"/>
                      </a:cubicBezTo>
                      <a:cubicBezTo>
                        <a:pt x="10" y="0"/>
                        <a:pt x="0" y="10"/>
                        <a:pt x="0" y="22"/>
                      </a:cubicBezTo>
                      <a:cubicBezTo>
                        <a:pt x="0" y="1282"/>
                        <a:pt x="0" y="1282"/>
                        <a:pt x="0" y="1282"/>
                      </a:cubicBezTo>
                      <a:cubicBezTo>
                        <a:pt x="0" y="1294"/>
                        <a:pt x="10" y="1304"/>
                        <a:pt x="22" y="1304"/>
                      </a:cubicBezTo>
                      <a:cubicBezTo>
                        <a:pt x="1806" y="1304"/>
                        <a:pt x="1806" y="1304"/>
                        <a:pt x="1806" y="1304"/>
                      </a:cubicBezTo>
                      <a:cubicBezTo>
                        <a:pt x="1818" y="1304"/>
                        <a:pt x="1828" y="1294"/>
                        <a:pt x="1828" y="1282"/>
                      </a:cubicBezTo>
                      <a:cubicBezTo>
                        <a:pt x="1828" y="22"/>
                        <a:pt x="1828" y="22"/>
                        <a:pt x="1828" y="22"/>
                      </a:cubicBezTo>
                      <a:cubicBezTo>
                        <a:pt x="1828" y="10"/>
                        <a:pt x="1818" y="0"/>
                        <a:pt x="1806" y="0"/>
                      </a:cubicBezTo>
                      <a:close/>
                      <a:moveTo>
                        <a:pt x="1784" y="1260"/>
                      </a:moveTo>
                      <a:cubicBezTo>
                        <a:pt x="44" y="1260"/>
                        <a:pt x="44" y="1260"/>
                        <a:pt x="44" y="1260"/>
                      </a:cubicBezTo>
                      <a:cubicBezTo>
                        <a:pt x="44" y="44"/>
                        <a:pt x="44" y="44"/>
                        <a:pt x="44" y="44"/>
                      </a:cubicBezTo>
                      <a:cubicBezTo>
                        <a:pt x="1784" y="44"/>
                        <a:pt x="1784" y="44"/>
                        <a:pt x="1784" y="44"/>
                      </a:cubicBezTo>
                      <a:lnTo>
                        <a:pt x="1784" y="12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7396163" y="3063875"/>
                  <a:ext cx="1074737" cy="731838"/>
                </a:xfrm>
                <a:custGeom>
                  <a:avLst/>
                  <a:gdLst>
                    <a:gd name="connsiteX0" fmla="*/ 191229 w 1074737"/>
                    <a:gd name="connsiteY0" fmla="*/ 80089 h 731838"/>
                    <a:gd name="connsiteX1" fmla="*/ 209107 w 1074737"/>
                    <a:gd name="connsiteY1" fmla="*/ 93643 h 731838"/>
                    <a:gd name="connsiteX2" fmla="*/ 416487 w 1074737"/>
                    <a:gd name="connsiteY2" fmla="*/ 448195 h 731838"/>
                    <a:gd name="connsiteX3" fmla="*/ 936366 w 1074737"/>
                    <a:gd name="connsiteY3" fmla="*/ 551635 h 731838"/>
                    <a:gd name="connsiteX4" fmla="*/ 954244 w 1074737"/>
                    <a:gd name="connsiteY4" fmla="*/ 565190 h 731838"/>
                    <a:gd name="connsiteX5" fmla="*/ 940657 w 1074737"/>
                    <a:gd name="connsiteY5" fmla="*/ 583024 h 731838"/>
                    <a:gd name="connsiteX6" fmla="*/ 793346 w 1074737"/>
                    <a:gd name="connsiteY6" fmla="*/ 593725 h 731838"/>
                    <a:gd name="connsiteX7" fmla="*/ 396464 w 1074737"/>
                    <a:gd name="connsiteY7" fmla="*/ 472450 h 731838"/>
                    <a:gd name="connsiteX8" fmla="*/ 215543 w 1074737"/>
                    <a:gd name="connsiteY8" fmla="*/ 230613 h 731838"/>
                    <a:gd name="connsiteX9" fmla="*/ 177642 w 1074737"/>
                    <a:gd name="connsiteY9" fmla="*/ 97923 h 731838"/>
                    <a:gd name="connsiteX10" fmla="*/ 191229 w 1074737"/>
                    <a:gd name="connsiteY10" fmla="*/ 80089 h 731838"/>
                    <a:gd name="connsiteX11" fmla="*/ 64941 w 1074737"/>
                    <a:gd name="connsiteY11" fmla="*/ 0 h 731838"/>
                    <a:gd name="connsiteX12" fmla="*/ 67796 w 1074737"/>
                    <a:gd name="connsiteY12" fmla="*/ 0 h 731838"/>
                    <a:gd name="connsiteX13" fmla="*/ 68509 w 1074737"/>
                    <a:gd name="connsiteY13" fmla="*/ 0 h 731838"/>
                    <a:gd name="connsiteX14" fmla="*/ 71364 w 1074737"/>
                    <a:gd name="connsiteY14" fmla="*/ 0 h 731838"/>
                    <a:gd name="connsiteX15" fmla="*/ 74218 w 1074737"/>
                    <a:gd name="connsiteY15" fmla="*/ 1427 h 731838"/>
                    <a:gd name="connsiteX16" fmla="*/ 77073 w 1074737"/>
                    <a:gd name="connsiteY16" fmla="*/ 2853 h 731838"/>
                    <a:gd name="connsiteX17" fmla="*/ 79214 w 1074737"/>
                    <a:gd name="connsiteY17" fmla="*/ 4280 h 731838"/>
                    <a:gd name="connsiteX18" fmla="*/ 132023 w 1074737"/>
                    <a:gd name="connsiteY18" fmla="*/ 57777 h 731838"/>
                    <a:gd name="connsiteX19" fmla="*/ 132023 w 1074737"/>
                    <a:gd name="connsiteY19" fmla="*/ 79889 h 731838"/>
                    <a:gd name="connsiteX20" fmla="*/ 121318 w 1074737"/>
                    <a:gd name="connsiteY20" fmla="*/ 84169 h 731838"/>
                    <a:gd name="connsiteX21" fmla="*/ 109900 w 1074737"/>
                    <a:gd name="connsiteY21" fmla="*/ 79889 h 731838"/>
                    <a:gd name="connsiteX22" fmla="*/ 84209 w 1074737"/>
                    <a:gd name="connsiteY22" fmla="*/ 53497 h 731838"/>
                    <a:gd name="connsiteX23" fmla="*/ 84209 w 1074737"/>
                    <a:gd name="connsiteY23" fmla="*/ 646956 h 731838"/>
                    <a:gd name="connsiteX24" fmla="*/ 1021928 w 1074737"/>
                    <a:gd name="connsiteY24" fmla="*/ 646956 h 731838"/>
                    <a:gd name="connsiteX25" fmla="*/ 995523 w 1074737"/>
                    <a:gd name="connsiteY25" fmla="*/ 619851 h 731838"/>
                    <a:gd name="connsiteX26" fmla="*/ 991242 w 1074737"/>
                    <a:gd name="connsiteY26" fmla="*/ 609152 h 731838"/>
                    <a:gd name="connsiteX27" fmla="*/ 996237 w 1074737"/>
                    <a:gd name="connsiteY27" fmla="*/ 597739 h 731838"/>
                    <a:gd name="connsiteX28" fmla="*/ 1018360 w 1074737"/>
                    <a:gd name="connsiteY28" fmla="*/ 597739 h 731838"/>
                    <a:gd name="connsiteX29" fmla="*/ 1070455 w 1074737"/>
                    <a:gd name="connsiteY29" fmla="*/ 651949 h 731838"/>
                    <a:gd name="connsiteX30" fmla="*/ 1074737 w 1074737"/>
                    <a:gd name="connsiteY30" fmla="*/ 661222 h 731838"/>
                    <a:gd name="connsiteX31" fmla="*/ 1074737 w 1074737"/>
                    <a:gd name="connsiteY31" fmla="*/ 664789 h 731838"/>
                    <a:gd name="connsiteX32" fmla="*/ 1071169 w 1074737"/>
                    <a:gd name="connsiteY32" fmla="*/ 672635 h 731838"/>
                    <a:gd name="connsiteX33" fmla="*/ 1070455 w 1074737"/>
                    <a:gd name="connsiteY33" fmla="*/ 673348 h 731838"/>
                    <a:gd name="connsiteX34" fmla="*/ 1018360 w 1074737"/>
                    <a:gd name="connsiteY34" fmla="*/ 726845 h 731838"/>
                    <a:gd name="connsiteX35" fmla="*/ 1006941 w 1074737"/>
                    <a:gd name="connsiteY35" fmla="*/ 731838 h 731838"/>
                    <a:gd name="connsiteX36" fmla="*/ 996237 w 1074737"/>
                    <a:gd name="connsiteY36" fmla="*/ 727558 h 731838"/>
                    <a:gd name="connsiteX37" fmla="*/ 995523 w 1074737"/>
                    <a:gd name="connsiteY37" fmla="*/ 705446 h 731838"/>
                    <a:gd name="connsiteX38" fmla="*/ 1021928 w 1074737"/>
                    <a:gd name="connsiteY38" fmla="*/ 678341 h 731838"/>
                    <a:gd name="connsiteX39" fmla="*/ 68509 w 1074737"/>
                    <a:gd name="connsiteY39" fmla="*/ 678341 h 731838"/>
                    <a:gd name="connsiteX40" fmla="*/ 52809 w 1074737"/>
                    <a:gd name="connsiteY40" fmla="*/ 662649 h 731838"/>
                    <a:gd name="connsiteX41" fmla="*/ 52809 w 1074737"/>
                    <a:gd name="connsiteY41" fmla="*/ 53497 h 731838"/>
                    <a:gd name="connsiteX42" fmla="*/ 26405 w 1074737"/>
                    <a:gd name="connsiteY42" fmla="*/ 79889 h 731838"/>
                    <a:gd name="connsiteX43" fmla="*/ 4282 w 1074737"/>
                    <a:gd name="connsiteY43" fmla="*/ 79889 h 731838"/>
                    <a:gd name="connsiteX44" fmla="*/ 0 w 1074737"/>
                    <a:gd name="connsiteY44" fmla="*/ 68476 h 731838"/>
                    <a:gd name="connsiteX45" fmla="*/ 4282 w 1074737"/>
                    <a:gd name="connsiteY45" fmla="*/ 57777 h 731838"/>
                    <a:gd name="connsiteX46" fmla="*/ 57091 w 1074737"/>
                    <a:gd name="connsiteY46" fmla="*/ 4280 h 731838"/>
                    <a:gd name="connsiteX47" fmla="*/ 59232 w 1074737"/>
                    <a:gd name="connsiteY47" fmla="*/ 2853 h 731838"/>
                    <a:gd name="connsiteX48" fmla="*/ 59946 w 1074737"/>
                    <a:gd name="connsiteY48" fmla="*/ 2853 h 731838"/>
                    <a:gd name="connsiteX49" fmla="*/ 62087 w 1074737"/>
                    <a:gd name="connsiteY49" fmla="*/ 1427 h 731838"/>
                    <a:gd name="connsiteX50" fmla="*/ 64941 w 1074737"/>
                    <a:gd name="connsiteY50" fmla="*/ 713 h 731838"/>
                    <a:gd name="connsiteX51" fmla="*/ 64941 w 1074737"/>
                    <a:gd name="connsiteY51" fmla="*/ 0 h 73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74737" h="731838">
                      <a:moveTo>
                        <a:pt x="191229" y="80089"/>
                      </a:moveTo>
                      <a:cubicBezTo>
                        <a:pt x="199811" y="79375"/>
                        <a:pt x="207677" y="85082"/>
                        <a:pt x="209107" y="93643"/>
                      </a:cubicBezTo>
                      <a:cubicBezTo>
                        <a:pt x="209107" y="95783"/>
                        <a:pt x="237711" y="311225"/>
                        <a:pt x="416487" y="448195"/>
                      </a:cubicBezTo>
                      <a:cubicBezTo>
                        <a:pt x="545205" y="546642"/>
                        <a:pt x="720405" y="581598"/>
                        <a:pt x="936366" y="551635"/>
                      </a:cubicBezTo>
                      <a:cubicBezTo>
                        <a:pt x="944948" y="550922"/>
                        <a:pt x="952814" y="556629"/>
                        <a:pt x="954244" y="565190"/>
                      </a:cubicBezTo>
                      <a:cubicBezTo>
                        <a:pt x="955674" y="573750"/>
                        <a:pt x="949238" y="581598"/>
                        <a:pt x="940657" y="583024"/>
                      </a:cubicBezTo>
                      <a:cubicBezTo>
                        <a:pt x="889885" y="590158"/>
                        <a:pt x="840543" y="593725"/>
                        <a:pt x="793346" y="593725"/>
                      </a:cubicBezTo>
                      <a:cubicBezTo>
                        <a:pt x="634593" y="593725"/>
                        <a:pt x="501584" y="553062"/>
                        <a:pt x="396464" y="472450"/>
                      </a:cubicBezTo>
                      <a:cubicBezTo>
                        <a:pt x="297780" y="396831"/>
                        <a:pt x="243432" y="299097"/>
                        <a:pt x="215543" y="230613"/>
                      </a:cubicBezTo>
                      <a:cubicBezTo>
                        <a:pt x="184793" y="155707"/>
                        <a:pt x="177642" y="100063"/>
                        <a:pt x="177642" y="97923"/>
                      </a:cubicBezTo>
                      <a:cubicBezTo>
                        <a:pt x="176212" y="89363"/>
                        <a:pt x="182648" y="81515"/>
                        <a:pt x="191229" y="80089"/>
                      </a:cubicBezTo>
                      <a:close/>
                      <a:moveTo>
                        <a:pt x="64941" y="0"/>
                      </a:moveTo>
                      <a:cubicBezTo>
                        <a:pt x="65655" y="0"/>
                        <a:pt x="66368" y="0"/>
                        <a:pt x="67796" y="0"/>
                      </a:cubicBezTo>
                      <a:cubicBezTo>
                        <a:pt x="67796" y="0"/>
                        <a:pt x="67796" y="0"/>
                        <a:pt x="68509" y="0"/>
                      </a:cubicBezTo>
                      <a:cubicBezTo>
                        <a:pt x="69937" y="0"/>
                        <a:pt x="70650" y="0"/>
                        <a:pt x="71364" y="0"/>
                      </a:cubicBezTo>
                      <a:cubicBezTo>
                        <a:pt x="72078" y="713"/>
                        <a:pt x="73505" y="713"/>
                        <a:pt x="74218" y="1427"/>
                      </a:cubicBezTo>
                      <a:cubicBezTo>
                        <a:pt x="74932" y="1427"/>
                        <a:pt x="75646" y="2140"/>
                        <a:pt x="77073" y="2853"/>
                      </a:cubicBezTo>
                      <a:cubicBezTo>
                        <a:pt x="77787" y="2853"/>
                        <a:pt x="78500" y="3567"/>
                        <a:pt x="79214" y="4280"/>
                      </a:cubicBezTo>
                      <a:cubicBezTo>
                        <a:pt x="79214" y="4280"/>
                        <a:pt x="79214" y="4280"/>
                        <a:pt x="132023" y="57777"/>
                      </a:cubicBezTo>
                      <a:cubicBezTo>
                        <a:pt x="138446" y="63483"/>
                        <a:pt x="138446" y="73469"/>
                        <a:pt x="132023" y="79889"/>
                      </a:cubicBezTo>
                      <a:cubicBezTo>
                        <a:pt x="129169" y="82742"/>
                        <a:pt x="124887" y="84169"/>
                        <a:pt x="121318" y="84169"/>
                      </a:cubicBezTo>
                      <a:cubicBezTo>
                        <a:pt x="117037" y="84169"/>
                        <a:pt x="112755" y="82742"/>
                        <a:pt x="109900" y="79889"/>
                      </a:cubicBezTo>
                      <a:cubicBezTo>
                        <a:pt x="109900" y="79889"/>
                        <a:pt x="109900" y="79889"/>
                        <a:pt x="84209" y="53497"/>
                      </a:cubicBezTo>
                      <a:cubicBezTo>
                        <a:pt x="84209" y="53497"/>
                        <a:pt x="84209" y="53497"/>
                        <a:pt x="84209" y="646956"/>
                      </a:cubicBezTo>
                      <a:cubicBezTo>
                        <a:pt x="84209" y="646956"/>
                        <a:pt x="84209" y="646956"/>
                        <a:pt x="1021928" y="646956"/>
                      </a:cubicBezTo>
                      <a:cubicBezTo>
                        <a:pt x="1021928" y="646956"/>
                        <a:pt x="1021928" y="646956"/>
                        <a:pt x="995523" y="619851"/>
                      </a:cubicBezTo>
                      <a:cubicBezTo>
                        <a:pt x="992669" y="616998"/>
                        <a:pt x="991242" y="612718"/>
                        <a:pt x="991242" y="609152"/>
                      </a:cubicBezTo>
                      <a:cubicBezTo>
                        <a:pt x="991242" y="604872"/>
                        <a:pt x="993382" y="600592"/>
                        <a:pt x="996237" y="597739"/>
                      </a:cubicBezTo>
                      <a:cubicBezTo>
                        <a:pt x="1002660" y="591320"/>
                        <a:pt x="1012651" y="592033"/>
                        <a:pt x="1018360" y="597739"/>
                      </a:cubicBezTo>
                      <a:cubicBezTo>
                        <a:pt x="1018360" y="597739"/>
                        <a:pt x="1018360" y="597739"/>
                        <a:pt x="1070455" y="651949"/>
                      </a:cubicBezTo>
                      <a:cubicBezTo>
                        <a:pt x="1073310" y="654803"/>
                        <a:pt x="1074737" y="657656"/>
                        <a:pt x="1074737" y="661222"/>
                      </a:cubicBezTo>
                      <a:cubicBezTo>
                        <a:pt x="1074737" y="662649"/>
                        <a:pt x="1074737" y="663362"/>
                        <a:pt x="1074737" y="664789"/>
                      </a:cubicBezTo>
                      <a:cubicBezTo>
                        <a:pt x="1074023" y="667642"/>
                        <a:pt x="1073310" y="670495"/>
                        <a:pt x="1071169" y="672635"/>
                      </a:cubicBezTo>
                      <a:cubicBezTo>
                        <a:pt x="1071169" y="672635"/>
                        <a:pt x="1070455" y="673348"/>
                        <a:pt x="1070455" y="673348"/>
                      </a:cubicBezTo>
                      <a:cubicBezTo>
                        <a:pt x="1070455" y="673348"/>
                        <a:pt x="1070455" y="673348"/>
                        <a:pt x="1018360" y="726845"/>
                      </a:cubicBezTo>
                      <a:cubicBezTo>
                        <a:pt x="1015505" y="730412"/>
                        <a:pt x="1011223" y="731838"/>
                        <a:pt x="1006941" y="731838"/>
                      </a:cubicBezTo>
                      <a:cubicBezTo>
                        <a:pt x="1003373" y="731838"/>
                        <a:pt x="999091" y="730412"/>
                        <a:pt x="996237" y="727558"/>
                      </a:cubicBezTo>
                      <a:cubicBezTo>
                        <a:pt x="989814" y="721139"/>
                        <a:pt x="989814" y="711153"/>
                        <a:pt x="995523" y="705446"/>
                      </a:cubicBezTo>
                      <a:cubicBezTo>
                        <a:pt x="995523" y="705446"/>
                        <a:pt x="995523" y="705446"/>
                        <a:pt x="1021928" y="678341"/>
                      </a:cubicBezTo>
                      <a:cubicBezTo>
                        <a:pt x="1021928" y="678341"/>
                        <a:pt x="1021928" y="678341"/>
                        <a:pt x="68509" y="678341"/>
                      </a:cubicBezTo>
                      <a:cubicBezTo>
                        <a:pt x="59946" y="678341"/>
                        <a:pt x="52809" y="671208"/>
                        <a:pt x="52809" y="662649"/>
                      </a:cubicBezTo>
                      <a:cubicBezTo>
                        <a:pt x="52809" y="662649"/>
                        <a:pt x="52809" y="662649"/>
                        <a:pt x="52809" y="53497"/>
                      </a:cubicBezTo>
                      <a:cubicBezTo>
                        <a:pt x="52809" y="53497"/>
                        <a:pt x="52809" y="53497"/>
                        <a:pt x="26405" y="79889"/>
                      </a:cubicBezTo>
                      <a:cubicBezTo>
                        <a:pt x="20696" y="85595"/>
                        <a:pt x="10705" y="85595"/>
                        <a:pt x="4282" y="79889"/>
                      </a:cubicBezTo>
                      <a:cubicBezTo>
                        <a:pt x="1428" y="77036"/>
                        <a:pt x="0" y="72756"/>
                        <a:pt x="0" y="68476"/>
                      </a:cubicBezTo>
                      <a:cubicBezTo>
                        <a:pt x="0" y="64910"/>
                        <a:pt x="1428" y="60630"/>
                        <a:pt x="4282" y="57777"/>
                      </a:cubicBezTo>
                      <a:cubicBezTo>
                        <a:pt x="4282" y="57777"/>
                        <a:pt x="4282" y="57777"/>
                        <a:pt x="57091" y="4280"/>
                      </a:cubicBezTo>
                      <a:cubicBezTo>
                        <a:pt x="57805" y="3567"/>
                        <a:pt x="58518" y="3567"/>
                        <a:pt x="59232" y="2853"/>
                      </a:cubicBezTo>
                      <a:cubicBezTo>
                        <a:pt x="59232" y="2853"/>
                        <a:pt x="59946" y="2853"/>
                        <a:pt x="59946" y="2853"/>
                      </a:cubicBezTo>
                      <a:cubicBezTo>
                        <a:pt x="60659" y="2140"/>
                        <a:pt x="61373" y="1427"/>
                        <a:pt x="62087" y="1427"/>
                      </a:cubicBezTo>
                      <a:cubicBezTo>
                        <a:pt x="62800" y="713"/>
                        <a:pt x="64228" y="713"/>
                        <a:pt x="64941" y="713"/>
                      </a:cubicBezTo>
                      <a:cubicBezTo>
                        <a:pt x="64941" y="713"/>
                        <a:pt x="64941" y="0"/>
                        <a:pt x="6494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0" name="bcgIcons_ShoppingBag"/>
            <p:cNvGrpSpPr>
              <a:grpSpLocks noChangeAspect="1"/>
            </p:cNvGrpSpPr>
            <p:nvPr/>
          </p:nvGrpSpPr>
          <p:grpSpPr bwMode="auto">
            <a:xfrm>
              <a:off x="680339" y="1116944"/>
              <a:ext cx="1425552" cy="1426873"/>
              <a:chOff x="1682" y="0"/>
              <a:chExt cx="4316" cy="4320"/>
            </a:xfrm>
          </p:grpSpPr>
          <p:sp>
            <p:nvSpPr>
              <p:cNvPr id="11" name="AutoShape 24"/>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6"/>
              <p:cNvSpPr>
                <a:spLocks/>
              </p:cNvSpPr>
              <p:nvPr/>
            </p:nvSpPr>
            <p:spPr bwMode="auto">
              <a:xfrm>
                <a:off x="3280" y="591"/>
                <a:ext cx="1116" cy="588"/>
              </a:xfrm>
              <a:custGeom>
                <a:avLst/>
                <a:gdLst>
                  <a:gd name="T0" fmla="*/ 44 w 596"/>
                  <a:gd name="T1" fmla="*/ 314 h 314"/>
                  <a:gd name="T2" fmla="*/ 44 w 596"/>
                  <a:gd name="T3" fmla="*/ 314 h 314"/>
                  <a:gd name="T4" fmla="*/ 298 w 596"/>
                  <a:gd name="T5" fmla="*/ 44 h 314"/>
                  <a:gd name="T6" fmla="*/ 552 w 596"/>
                  <a:gd name="T7" fmla="*/ 314 h 314"/>
                  <a:gd name="T8" fmla="*/ 552 w 596"/>
                  <a:gd name="T9" fmla="*/ 314 h 314"/>
                  <a:gd name="T10" fmla="*/ 596 w 596"/>
                  <a:gd name="T11" fmla="*/ 314 h 314"/>
                  <a:gd name="T12" fmla="*/ 596 w 596"/>
                  <a:gd name="T13" fmla="*/ 314 h 314"/>
                  <a:gd name="T14" fmla="*/ 509 w 596"/>
                  <a:gd name="T15" fmla="*/ 82 h 314"/>
                  <a:gd name="T16" fmla="*/ 298 w 596"/>
                  <a:gd name="T17" fmla="*/ 0 h 314"/>
                  <a:gd name="T18" fmla="*/ 87 w 596"/>
                  <a:gd name="T19" fmla="*/ 82 h 314"/>
                  <a:gd name="T20" fmla="*/ 0 w 596"/>
                  <a:gd name="T21" fmla="*/ 314 h 314"/>
                  <a:gd name="T22" fmla="*/ 0 w 596"/>
                  <a:gd name="T23" fmla="*/ 314 h 314"/>
                  <a:gd name="T24" fmla="*/ 44 w 596"/>
                  <a:gd name="T2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6" h="314">
                    <a:moveTo>
                      <a:pt x="44" y="314"/>
                    </a:moveTo>
                    <a:cubicBezTo>
                      <a:pt x="44" y="314"/>
                      <a:pt x="44" y="314"/>
                      <a:pt x="44" y="314"/>
                    </a:cubicBezTo>
                    <a:cubicBezTo>
                      <a:pt x="44" y="150"/>
                      <a:pt x="144" y="44"/>
                      <a:pt x="298" y="44"/>
                    </a:cubicBezTo>
                    <a:cubicBezTo>
                      <a:pt x="452" y="44"/>
                      <a:pt x="552" y="150"/>
                      <a:pt x="552" y="314"/>
                    </a:cubicBezTo>
                    <a:cubicBezTo>
                      <a:pt x="552" y="314"/>
                      <a:pt x="552" y="314"/>
                      <a:pt x="552" y="314"/>
                    </a:cubicBezTo>
                    <a:cubicBezTo>
                      <a:pt x="596" y="314"/>
                      <a:pt x="596" y="314"/>
                      <a:pt x="596" y="314"/>
                    </a:cubicBezTo>
                    <a:cubicBezTo>
                      <a:pt x="596" y="314"/>
                      <a:pt x="596" y="314"/>
                      <a:pt x="596" y="314"/>
                    </a:cubicBezTo>
                    <a:cubicBezTo>
                      <a:pt x="596" y="218"/>
                      <a:pt x="566" y="138"/>
                      <a:pt x="509" y="82"/>
                    </a:cubicBezTo>
                    <a:cubicBezTo>
                      <a:pt x="455" y="29"/>
                      <a:pt x="381" y="0"/>
                      <a:pt x="298" y="0"/>
                    </a:cubicBezTo>
                    <a:cubicBezTo>
                      <a:pt x="215" y="0"/>
                      <a:pt x="141" y="29"/>
                      <a:pt x="87" y="82"/>
                    </a:cubicBezTo>
                    <a:cubicBezTo>
                      <a:pt x="30" y="138"/>
                      <a:pt x="0" y="218"/>
                      <a:pt x="0" y="314"/>
                    </a:cubicBezTo>
                    <a:cubicBezTo>
                      <a:pt x="0" y="314"/>
                      <a:pt x="0" y="314"/>
                      <a:pt x="0" y="314"/>
                    </a:cubicBezTo>
                    <a:lnTo>
                      <a:pt x="44" y="31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7"/>
              <p:cNvSpPr>
                <a:spLocks/>
              </p:cNvSpPr>
              <p:nvPr/>
            </p:nvSpPr>
            <p:spPr bwMode="auto">
              <a:xfrm>
                <a:off x="2834" y="1262"/>
                <a:ext cx="1986" cy="2439"/>
              </a:xfrm>
              <a:custGeom>
                <a:avLst/>
                <a:gdLst>
                  <a:gd name="T0" fmla="*/ 1038 w 1060"/>
                  <a:gd name="T1" fmla="*/ 1301 h 1301"/>
                  <a:gd name="T2" fmla="*/ 22 w 1060"/>
                  <a:gd name="T3" fmla="*/ 1301 h 1301"/>
                  <a:gd name="T4" fmla="*/ 0 w 1060"/>
                  <a:gd name="T5" fmla="*/ 1279 h 1301"/>
                  <a:gd name="T6" fmla="*/ 40 w 1060"/>
                  <a:gd name="T7" fmla="*/ 22 h 1301"/>
                  <a:gd name="T8" fmla="*/ 62 w 1060"/>
                  <a:gd name="T9" fmla="*/ 0 h 1301"/>
                  <a:gd name="T10" fmla="*/ 998 w 1060"/>
                  <a:gd name="T11" fmla="*/ 0 h 1301"/>
                  <a:gd name="T12" fmla="*/ 1020 w 1060"/>
                  <a:gd name="T13" fmla="*/ 22 h 1301"/>
                  <a:gd name="T14" fmla="*/ 1060 w 1060"/>
                  <a:gd name="T15" fmla="*/ 1279 h 1301"/>
                  <a:gd name="T16" fmla="*/ 1038 w 1060"/>
                  <a:gd name="T17" fmla="*/ 1301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0" h="1301">
                    <a:moveTo>
                      <a:pt x="1038" y="1301"/>
                    </a:moveTo>
                    <a:cubicBezTo>
                      <a:pt x="22" y="1301"/>
                      <a:pt x="22" y="1301"/>
                      <a:pt x="22" y="1301"/>
                    </a:cubicBezTo>
                    <a:cubicBezTo>
                      <a:pt x="10" y="1301"/>
                      <a:pt x="0" y="1291"/>
                      <a:pt x="0" y="1279"/>
                    </a:cubicBezTo>
                    <a:cubicBezTo>
                      <a:pt x="40" y="22"/>
                      <a:pt x="40" y="22"/>
                      <a:pt x="40" y="22"/>
                    </a:cubicBezTo>
                    <a:cubicBezTo>
                      <a:pt x="40" y="10"/>
                      <a:pt x="50" y="0"/>
                      <a:pt x="62" y="0"/>
                    </a:cubicBezTo>
                    <a:cubicBezTo>
                      <a:pt x="998" y="0"/>
                      <a:pt x="998" y="0"/>
                      <a:pt x="998" y="0"/>
                    </a:cubicBezTo>
                    <a:cubicBezTo>
                      <a:pt x="1010" y="0"/>
                      <a:pt x="1020" y="10"/>
                      <a:pt x="1020" y="22"/>
                    </a:cubicBezTo>
                    <a:cubicBezTo>
                      <a:pt x="1060" y="1279"/>
                      <a:pt x="1060" y="1279"/>
                      <a:pt x="1060" y="1279"/>
                    </a:cubicBezTo>
                    <a:cubicBezTo>
                      <a:pt x="1060" y="1291"/>
                      <a:pt x="1050" y="1301"/>
                      <a:pt x="1038" y="130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4" name="TextBox 13"/>
          <p:cNvSpPr txBox="1"/>
          <p:nvPr/>
        </p:nvSpPr>
        <p:spPr>
          <a:xfrm>
            <a:off x="2815844" y="3017715"/>
            <a:ext cx="8747356" cy="16561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The training is based on a </a:t>
            </a:r>
            <a:r>
              <a:rPr lang="en-US" dirty="0">
                <a:solidFill>
                  <a:srgbClr val="29BA74"/>
                </a:solidFill>
              </a:rPr>
              <a:t>Python module from a real case</a:t>
            </a:r>
            <a:r>
              <a:rPr lang="en-US" baseline="30000" dirty="0">
                <a:solidFill>
                  <a:srgbClr val="29BA74"/>
                </a:solidFill>
              </a:rPr>
              <a:t>1</a:t>
            </a:r>
            <a:r>
              <a:rPr lang="en-US" dirty="0">
                <a:solidFill>
                  <a:srgbClr val="575757"/>
                </a:solidFill>
              </a:rPr>
              <a:t>. This module aims to predict the demand for a retail company based on the product and the store features.</a:t>
            </a:r>
          </a:p>
          <a:p>
            <a:r>
              <a:rPr lang="en-US" dirty="0">
                <a:solidFill>
                  <a:srgbClr val="575757"/>
                </a:solidFill>
              </a:rPr>
              <a:t>		</a:t>
            </a:r>
          </a:p>
          <a:p>
            <a:r>
              <a:rPr lang="en-US" dirty="0">
                <a:solidFill>
                  <a:srgbClr val="575757"/>
                </a:solidFill>
              </a:rPr>
              <a:t>The </a:t>
            </a:r>
            <a:r>
              <a:rPr lang="en-US" dirty="0">
                <a:solidFill>
                  <a:srgbClr val="29BA74"/>
                </a:solidFill>
              </a:rPr>
              <a:t>fundamental tasks</a:t>
            </a:r>
            <a:r>
              <a:rPr lang="en-US" dirty="0">
                <a:solidFill>
                  <a:srgbClr val="575757"/>
                </a:solidFill>
              </a:rPr>
              <a:t> of a Data Science project can be found in this module : </a:t>
            </a:r>
          </a:p>
          <a:p>
            <a:pPr marL="285750" indent="-285750">
              <a:buFontTx/>
              <a:buChar char="-"/>
            </a:pPr>
            <a:r>
              <a:rPr lang="en-US" dirty="0">
                <a:solidFill>
                  <a:srgbClr val="575757"/>
                </a:solidFill>
              </a:rPr>
              <a:t>Fetching the data from a data base</a:t>
            </a:r>
          </a:p>
          <a:p>
            <a:pPr marL="285750" indent="-285750">
              <a:buFontTx/>
              <a:buChar char="-"/>
            </a:pPr>
            <a:r>
              <a:rPr lang="en-US" dirty="0">
                <a:solidFill>
                  <a:srgbClr val="575757"/>
                </a:solidFill>
              </a:rPr>
              <a:t>Processing the data</a:t>
            </a:r>
          </a:p>
          <a:p>
            <a:pPr marL="285750" indent="-285750">
              <a:buFontTx/>
              <a:buChar char="-"/>
            </a:pPr>
            <a:r>
              <a:rPr lang="en-US" dirty="0">
                <a:solidFill>
                  <a:srgbClr val="575757"/>
                </a:solidFill>
              </a:rPr>
              <a:t>Implementing a model </a:t>
            </a:r>
          </a:p>
          <a:p>
            <a:pPr marL="285750" indent="-285750">
              <a:buFontTx/>
              <a:buChar char="-"/>
            </a:pPr>
            <a:r>
              <a:rPr lang="en-US" dirty="0">
                <a:solidFill>
                  <a:srgbClr val="575757"/>
                </a:solidFill>
              </a:rPr>
              <a:t>Evaluating a model</a:t>
            </a:r>
          </a:p>
          <a:p>
            <a:pPr marL="285750" indent="-285750">
              <a:buFontTx/>
              <a:buChar char="-"/>
            </a:pPr>
            <a:r>
              <a:rPr lang="en-US" dirty="0">
                <a:solidFill>
                  <a:srgbClr val="575757"/>
                </a:solidFill>
              </a:rPr>
              <a:t>Displaying results in a web app</a:t>
            </a:r>
          </a:p>
          <a:p>
            <a:pPr marL="285750" indent="-285750">
              <a:buFontTx/>
              <a:buChar char="-"/>
            </a:pPr>
            <a:endParaRPr lang="en-US" dirty="0">
              <a:solidFill>
                <a:srgbClr val="575757"/>
              </a:solidFill>
            </a:endParaRPr>
          </a:p>
          <a:p>
            <a:endParaRPr lang="en-US" dirty="0">
              <a:solidFill>
                <a:srgbClr val="575757"/>
              </a:solidFill>
            </a:endParaRPr>
          </a:p>
          <a:p>
            <a:r>
              <a:rPr lang="en-US" dirty="0">
                <a:solidFill>
                  <a:srgbClr val="575757"/>
                </a:solidFill>
              </a:rPr>
              <a:t>This module is a very common case for Gamma and deals with the typical methods used in </a:t>
            </a:r>
            <a:r>
              <a:rPr lang="en-US" dirty="0" smtClean="0">
                <a:solidFill>
                  <a:srgbClr val="575757"/>
                </a:solidFill>
              </a:rPr>
              <a:t>most Data </a:t>
            </a:r>
            <a:r>
              <a:rPr lang="en-US" dirty="0">
                <a:solidFill>
                  <a:srgbClr val="575757"/>
                </a:solidFill>
              </a:rPr>
              <a:t>Science projects. Therefore, most of the tools presented </a:t>
            </a:r>
            <a:r>
              <a:rPr lang="en-US" dirty="0" smtClean="0">
                <a:solidFill>
                  <a:srgbClr val="575757"/>
                </a:solidFill>
              </a:rPr>
              <a:t>in </a:t>
            </a:r>
            <a:r>
              <a:rPr lang="en-US" dirty="0">
                <a:solidFill>
                  <a:srgbClr val="575757"/>
                </a:solidFill>
              </a:rPr>
              <a:t>this </a:t>
            </a:r>
            <a:r>
              <a:rPr lang="en-US" dirty="0" smtClean="0">
                <a:solidFill>
                  <a:srgbClr val="575757"/>
                </a:solidFill>
              </a:rPr>
              <a:t>training will be </a:t>
            </a:r>
            <a:r>
              <a:rPr lang="en-US" dirty="0">
                <a:solidFill>
                  <a:srgbClr val="29BA74"/>
                </a:solidFill>
              </a:rPr>
              <a:t>very useful </a:t>
            </a:r>
            <a:r>
              <a:rPr lang="en-US" dirty="0">
                <a:solidFill>
                  <a:srgbClr val="575757"/>
                </a:solidFill>
              </a:rPr>
              <a:t>for your next case.</a:t>
            </a:r>
          </a:p>
        </p:txBody>
      </p:sp>
      <p:sp>
        <p:nvSpPr>
          <p:cNvPr id="15"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Data have been changed and randomized</a:t>
            </a:r>
          </a:p>
        </p:txBody>
      </p:sp>
      <p:grpSp>
        <p:nvGrpSpPr>
          <p:cNvPr id="50" name="Group 49"/>
          <p:cNvGrpSpPr/>
          <p:nvPr/>
        </p:nvGrpSpPr>
        <p:grpSpPr>
          <a:xfrm>
            <a:off x="1199206" y="3144868"/>
            <a:ext cx="1063701" cy="1063701"/>
            <a:chOff x="1199206" y="2788206"/>
            <a:chExt cx="1063701" cy="1063701"/>
          </a:xfrm>
        </p:grpSpPr>
        <p:sp>
          <p:nvSpPr>
            <p:cNvPr id="19" name="Oval 18"/>
            <p:cNvSpPr/>
            <p:nvPr/>
          </p:nvSpPr>
          <p:spPr>
            <a:xfrm>
              <a:off x="1199206" y="2788206"/>
              <a:ext cx="1063701" cy="1063701"/>
            </a:xfrm>
            <a:prstGeom prst="ellipse">
              <a:avLst/>
            </a:prstGeom>
            <a:solidFill>
              <a:srgbClr val="FFFFFF"/>
            </a:solidFill>
            <a:ln w="28575"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41" name="Group 40"/>
            <p:cNvGrpSpPr>
              <a:grpSpLocks noChangeAspect="1"/>
            </p:cNvGrpSpPr>
            <p:nvPr/>
          </p:nvGrpSpPr>
          <p:grpSpPr>
            <a:xfrm>
              <a:off x="1386210" y="2975210"/>
              <a:ext cx="689693" cy="689693"/>
              <a:chOff x="5272088" y="2606675"/>
              <a:chExt cx="1644650" cy="1644650"/>
            </a:xfrm>
          </p:grpSpPr>
          <p:sp>
            <p:nvSpPr>
              <p:cNvPr id="42" name="AutoShape 3"/>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p:cNvGrpSpPr/>
              <p:nvPr/>
            </p:nvGrpSpPr>
            <p:grpSpPr>
              <a:xfrm>
                <a:off x="5441951" y="2962275"/>
                <a:ext cx="1304925" cy="930275"/>
                <a:chOff x="5441951" y="2962275"/>
                <a:chExt cx="1304925" cy="930275"/>
              </a:xfrm>
            </p:grpSpPr>
            <p:sp>
              <p:nvSpPr>
                <p:cNvPr id="44" name="Freeform 43"/>
                <p:cNvSpPr>
                  <a:spLocks/>
                </p:cNvSpPr>
                <p:nvPr/>
              </p:nvSpPr>
              <p:spPr bwMode="auto">
                <a:xfrm>
                  <a:off x="5441951" y="2962275"/>
                  <a:ext cx="1304925" cy="930275"/>
                </a:xfrm>
                <a:custGeom>
                  <a:avLst/>
                  <a:gdLst>
                    <a:gd name="connsiteX0" fmla="*/ 30162 w 1304925"/>
                    <a:gd name="connsiteY0" fmla="*/ 31750 h 930275"/>
                    <a:gd name="connsiteX1" fmla="*/ 30162 w 1304925"/>
                    <a:gd name="connsiteY1" fmla="*/ 898525 h 930275"/>
                    <a:gd name="connsiteX2" fmla="*/ 1274762 w 1304925"/>
                    <a:gd name="connsiteY2" fmla="*/ 898525 h 930275"/>
                    <a:gd name="connsiteX3" fmla="*/ 1274762 w 1304925"/>
                    <a:gd name="connsiteY3" fmla="*/ 31750 h 930275"/>
                    <a:gd name="connsiteX4" fmla="*/ 30162 w 1304925"/>
                    <a:gd name="connsiteY4" fmla="*/ 31750 h 930275"/>
                    <a:gd name="connsiteX5" fmla="*/ 15688 w 1304925"/>
                    <a:gd name="connsiteY5" fmla="*/ 0 h 930275"/>
                    <a:gd name="connsiteX6" fmla="*/ 1289238 w 1304925"/>
                    <a:gd name="connsiteY6" fmla="*/ 0 h 930275"/>
                    <a:gd name="connsiteX7" fmla="*/ 1304925 w 1304925"/>
                    <a:gd name="connsiteY7" fmla="*/ 15695 h 930275"/>
                    <a:gd name="connsiteX8" fmla="*/ 1304925 w 1304925"/>
                    <a:gd name="connsiteY8" fmla="*/ 914580 h 930275"/>
                    <a:gd name="connsiteX9" fmla="*/ 1289238 w 1304925"/>
                    <a:gd name="connsiteY9" fmla="*/ 930275 h 930275"/>
                    <a:gd name="connsiteX10" fmla="*/ 15688 w 1304925"/>
                    <a:gd name="connsiteY10" fmla="*/ 930275 h 930275"/>
                    <a:gd name="connsiteX11" fmla="*/ 0 w 1304925"/>
                    <a:gd name="connsiteY11" fmla="*/ 914580 h 930275"/>
                    <a:gd name="connsiteX12" fmla="*/ 0 w 1304925"/>
                    <a:gd name="connsiteY12" fmla="*/ 15695 h 930275"/>
                    <a:gd name="connsiteX13" fmla="*/ 15688 w 1304925"/>
                    <a:gd name="connsiteY13" fmla="*/ 0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4925" h="930275">
                      <a:moveTo>
                        <a:pt x="30162" y="31750"/>
                      </a:moveTo>
                      <a:cubicBezTo>
                        <a:pt x="30162" y="898525"/>
                        <a:pt x="30162" y="898525"/>
                        <a:pt x="30162" y="898525"/>
                      </a:cubicBezTo>
                      <a:cubicBezTo>
                        <a:pt x="1274762" y="898525"/>
                        <a:pt x="1274762" y="898525"/>
                        <a:pt x="1274762" y="898525"/>
                      </a:cubicBezTo>
                      <a:cubicBezTo>
                        <a:pt x="1274762" y="31750"/>
                        <a:pt x="1274762" y="31750"/>
                        <a:pt x="1274762" y="31750"/>
                      </a:cubicBezTo>
                      <a:cubicBezTo>
                        <a:pt x="30162" y="31750"/>
                        <a:pt x="30162" y="31750"/>
                        <a:pt x="30162" y="31750"/>
                      </a:cubicBezTo>
                      <a:close/>
                      <a:moveTo>
                        <a:pt x="15688" y="0"/>
                      </a:moveTo>
                      <a:cubicBezTo>
                        <a:pt x="15688" y="0"/>
                        <a:pt x="15688" y="0"/>
                        <a:pt x="1289238" y="0"/>
                      </a:cubicBezTo>
                      <a:cubicBezTo>
                        <a:pt x="1297794" y="0"/>
                        <a:pt x="1304925" y="6421"/>
                        <a:pt x="1304925" y="15695"/>
                      </a:cubicBezTo>
                      <a:cubicBezTo>
                        <a:pt x="1304925" y="15695"/>
                        <a:pt x="1304925" y="15695"/>
                        <a:pt x="1304925" y="914580"/>
                      </a:cubicBezTo>
                      <a:cubicBezTo>
                        <a:pt x="1304925" y="923855"/>
                        <a:pt x="1297794" y="930275"/>
                        <a:pt x="1289238" y="930275"/>
                      </a:cubicBezTo>
                      <a:cubicBezTo>
                        <a:pt x="1289238" y="930275"/>
                        <a:pt x="1289238" y="930275"/>
                        <a:pt x="15688" y="930275"/>
                      </a:cubicBezTo>
                      <a:cubicBezTo>
                        <a:pt x="7131" y="930275"/>
                        <a:pt x="0" y="923855"/>
                        <a:pt x="0" y="914580"/>
                      </a:cubicBezTo>
                      <a:cubicBezTo>
                        <a:pt x="0" y="914580"/>
                        <a:pt x="0" y="914580"/>
                        <a:pt x="0" y="15695"/>
                      </a:cubicBezTo>
                      <a:cubicBezTo>
                        <a:pt x="0" y="6421"/>
                        <a:pt x="7131" y="0"/>
                        <a:pt x="1568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5" name="Freeform 44"/>
                <p:cNvSpPr>
                  <a:spLocks/>
                </p:cNvSpPr>
                <p:nvPr/>
              </p:nvSpPr>
              <p:spPr bwMode="auto">
                <a:xfrm>
                  <a:off x="5505451" y="3025775"/>
                  <a:ext cx="1177925" cy="806451"/>
                </a:xfrm>
                <a:custGeom>
                  <a:avLst/>
                  <a:gdLst>
                    <a:gd name="connsiteX0" fmla="*/ 15707 w 1177925"/>
                    <a:gd name="connsiteY0" fmla="*/ 377825 h 806451"/>
                    <a:gd name="connsiteX1" fmla="*/ 254168 w 1177925"/>
                    <a:gd name="connsiteY1" fmla="*/ 377825 h 806451"/>
                    <a:gd name="connsiteX2" fmla="*/ 269875 w 1177925"/>
                    <a:gd name="connsiteY2" fmla="*/ 393541 h 806451"/>
                    <a:gd name="connsiteX3" fmla="*/ 269875 w 1177925"/>
                    <a:gd name="connsiteY3" fmla="*/ 790734 h 806451"/>
                    <a:gd name="connsiteX4" fmla="*/ 254168 w 1177925"/>
                    <a:gd name="connsiteY4" fmla="*/ 806450 h 806451"/>
                    <a:gd name="connsiteX5" fmla="*/ 15707 w 1177925"/>
                    <a:gd name="connsiteY5" fmla="*/ 806450 h 806451"/>
                    <a:gd name="connsiteX6" fmla="*/ 0 w 1177925"/>
                    <a:gd name="connsiteY6" fmla="*/ 790734 h 806451"/>
                    <a:gd name="connsiteX7" fmla="*/ 0 w 1177925"/>
                    <a:gd name="connsiteY7" fmla="*/ 393541 h 806451"/>
                    <a:gd name="connsiteX8" fmla="*/ 15707 w 1177925"/>
                    <a:gd name="connsiteY8" fmla="*/ 377825 h 806451"/>
                    <a:gd name="connsiteX9" fmla="*/ 318919 w 1177925"/>
                    <a:gd name="connsiteY9" fmla="*/ 271463 h 806451"/>
                    <a:gd name="connsiteX10" fmla="*/ 557380 w 1177925"/>
                    <a:gd name="connsiteY10" fmla="*/ 271463 h 806451"/>
                    <a:gd name="connsiteX11" fmla="*/ 573087 w 1177925"/>
                    <a:gd name="connsiteY11" fmla="*/ 287177 h 806451"/>
                    <a:gd name="connsiteX12" fmla="*/ 573087 w 1177925"/>
                    <a:gd name="connsiteY12" fmla="*/ 790737 h 806451"/>
                    <a:gd name="connsiteX13" fmla="*/ 557380 w 1177925"/>
                    <a:gd name="connsiteY13" fmla="*/ 806451 h 806451"/>
                    <a:gd name="connsiteX14" fmla="*/ 318919 w 1177925"/>
                    <a:gd name="connsiteY14" fmla="*/ 806451 h 806451"/>
                    <a:gd name="connsiteX15" fmla="*/ 303212 w 1177925"/>
                    <a:gd name="connsiteY15" fmla="*/ 790737 h 806451"/>
                    <a:gd name="connsiteX16" fmla="*/ 303212 w 1177925"/>
                    <a:gd name="connsiteY16" fmla="*/ 287177 h 806451"/>
                    <a:gd name="connsiteX17" fmla="*/ 318919 w 1177925"/>
                    <a:gd name="connsiteY17" fmla="*/ 271463 h 806451"/>
                    <a:gd name="connsiteX18" fmla="*/ 620544 w 1177925"/>
                    <a:gd name="connsiteY18" fmla="*/ 152400 h 806451"/>
                    <a:gd name="connsiteX19" fmla="*/ 859005 w 1177925"/>
                    <a:gd name="connsiteY19" fmla="*/ 152400 h 806451"/>
                    <a:gd name="connsiteX20" fmla="*/ 874712 w 1177925"/>
                    <a:gd name="connsiteY20" fmla="*/ 168108 h 806451"/>
                    <a:gd name="connsiteX21" fmla="*/ 874712 w 1177925"/>
                    <a:gd name="connsiteY21" fmla="*/ 790742 h 806451"/>
                    <a:gd name="connsiteX22" fmla="*/ 859005 w 1177925"/>
                    <a:gd name="connsiteY22" fmla="*/ 806450 h 806451"/>
                    <a:gd name="connsiteX23" fmla="*/ 620544 w 1177925"/>
                    <a:gd name="connsiteY23" fmla="*/ 806450 h 806451"/>
                    <a:gd name="connsiteX24" fmla="*/ 604837 w 1177925"/>
                    <a:gd name="connsiteY24" fmla="*/ 790742 h 806451"/>
                    <a:gd name="connsiteX25" fmla="*/ 604837 w 1177925"/>
                    <a:gd name="connsiteY25" fmla="*/ 168108 h 806451"/>
                    <a:gd name="connsiteX26" fmla="*/ 620544 w 1177925"/>
                    <a:gd name="connsiteY26" fmla="*/ 152400 h 806451"/>
                    <a:gd name="connsiteX27" fmla="*/ 923757 w 1177925"/>
                    <a:gd name="connsiteY27" fmla="*/ 0 h 806451"/>
                    <a:gd name="connsiteX28" fmla="*/ 1162218 w 1177925"/>
                    <a:gd name="connsiteY28" fmla="*/ 0 h 806451"/>
                    <a:gd name="connsiteX29" fmla="*/ 1177925 w 1177925"/>
                    <a:gd name="connsiteY29" fmla="*/ 15715 h 806451"/>
                    <a:gd name="connsiteX30" fmla="*/ 1177925 w 1177925"/>
                    <a:gd name="connsiteY30" fmla="*/ 790735 h 806451"/>
                    <a:gd name="connsiteX31" fmla="*/ 1162218 w 1177925"/>
                    <a:gd name="connsiteY31" fmla="*/ 806450 h 806451"/>
                    <a:gd name="connsiteX32" fmla="*/ 923757 w 1177925"/>
                    <a:gd name="connsiteY32" fmla="*/ 806450 h 806451"/>
                    <a:gd name="connsiteX33" fmla="*/ 908050 w 1177925"/>
                    <a:gd name="connsiteY33" fmla="*/ 790735 h 806451"/>
                    <a:gd name="connsiteX34" fmla="*/ 908050 w 1177925"/>
                    <a:gd name="connsiteY34" fmla="*/ 15715 h 806451"/>
                    <a:gd name="connsiteX35" fmla="*/ 923757 w 1177925"/>
                    <a:gd name="connsiteY35" fmla="*/ 0 h 8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77925" h="806451">
                      <a:moveTo>
                        <a:pt x="15707" y="377825"/>
                      </a:moveTo>
                      <a:cubicBezTo>
                        <a:pt x="15707" y="377825"/>
                        <a:pt x="15707" y="377825"/>
                        <a:pt x="254168" y="377825"/>
                      </a:cubicBezTo>
                      <a:cubicBezTo>
                        <a:pt x="262736" y="377825"/>
                        <a:pt x="269875" y="384255"/>
                        <a:pt x="269875" y="393541"/>
                      </a:cubicBezTo>
                      <a:cubicBezTo>
                        <a:pt x="269875" y="393541"/>
                        <a:pt x="269875" y="548561"/>
                        <a:pt x="269875" y="790734"/>
                      </a:cubicBezTo>
                      <a:cubicBezTo>
                        <a:pt x="269875" y="800021"/>
                        <a:pt x="262736" y="806450"/>
                        <a:pt x="254168" y="806450"/>
                      </a:cubicBezTo>
                      <a:cubicBezTo>
                        <a:pt x="254168" y="806450"/>
                        <a:pt x="254168" y="806450"/>
                        <a:pt x="15707" y="806450"/>
                      </a:cubicBezTo>
                      <a:cubicBezTo>
                        <a:pt x="7140" y="806450"/>
                        <a:pt x="0" y="800021"/>
                        <a:pt x="0" y="790734"/>
                      </a:cubicBezTo>
                      <a:cubicBezTo>
                        <a:pt x="0" y="790734"/>
                        <a:pt x="0" y="635715"/>
                        <a:pt x="0" y="393541"/>
                      </a:cubicBezTo>
                      <a:cubicBezTo>
                        <a:pt x="0" y="384255"/>
                        <a:pt x="7140" y="377825"/>
                        <a:pt x="15707" y="377825"/>
                      </a:cubicBezTo>
                      <a:close/>
                      <a:moveTo>
                        <a:pt x="318919" y="271463"/>
                      </a:moveTo>
                      <a:cubicBezTo>
                        <a:pt x="318919" y="271463"/>
                        <a:pt x="318919" y="271463"/>
                        <a:pt x="557380" y="271463"/>
                      </a:cubicBezTo>
                      <a:cubicBezTo>
                        <a:pt x="565948" y="271463"/>
                        <a:pt x="573087" y="278606"/>
                        <a:pt x="573087" y="287177"/>
                      </a:cubicBezTo>
                      <a:cubicBezTo>
                        <a:pt x="573087" y="287177"/>
                        <a:pt x="573087" y="442174"/>
                        <a:pt x="573087" y="790737"/>
                      </a:cubicBezTo>
                      <a:cubicBezTo>
                        <a:pt x="573087" y="800023"/>
                        <a:pt x="565948" y="806451"/>
                        <a:pt x="557380" y="806451"/>
                      </a:cubicBezTo>
                      <a:cubicBezTo>
                        <a:pt x="557380" y="806451"/>
                        <a:pt x="557380" y="806451"/>
                        <a:pt x="318919" y="806451"/>
                      </a:cubicBezTo>
                      <a:cubicBezTo>
                        <a:pt x="309638" y="806451"/>
                        <a:pt x="303212" y="800023"/>
                        <a:pt x="303212" y="790737"/>
                      </a:cubicBezTo>
                      <a:cubicBezTo>
                        <a:pt x="303212" y="790737"/>
                        <a:pt x="303212" y="635741"/>
                        <a:pt x="303212" y="287177"/>
                      </a:cubicBezTo>
                      <a:cubicBezTo>
                        <a:pt x="303212" y="278606"/>
                        <a:pt x="309638" y="271463"/>
                        <a:pt x="318919" y="271463"/>
                      </a:cubicBezTo>
                      <a:close/>
                      <a:moveTo>
                        <a:pt x="620544" y="152400"/>
                      </a:moveTo>
                      <a:cubicBezTo>
                        <a:pt x="620544" y="152400"/>
                        <a:pt x="620544" y="152400"/>
                        <a:pt x="859005" y="152400"/>
                      </a:cubicBezTo>
                      <a:cubicBezTo>
                        <a:pt x="868287" y="152400"/>
                        <a:pt x="874712" y="159540"/>
                        <a:pt x="874712" y="168108"/>
                      </a:cubicBezTo>
                      <a:cubicBezTo>
                        <a:pt x="874712" y="168108"/>
                        <a:pt x="874712" y="323053"/>
                        <a:pt x="874712" y="790742"/>
                      </a:cubicBezTo>
                      <a:cubicBezTo>
                        <a:pt x="874712" y="800024"/>
                        <a:pt x="868287" y="806450"/>
                        <a:pt x="859005" y="806450"/>
                      </a:cubicBezTo>
                      <a:cubicBezTo>
                        <a:pt x="859005" y="806450"/>
                        <a:pt x="859005" y="806450"/>
                        <a:pt x="620544" y="806450"/>
                      </a:cubicBezTo>
                      <a:cubicBezTo>
                        <a:pt x="611977" y="806450"/>
                        <a:pt x="604837" y="800024"/>
                        <a:pt x="604837" y="790742"/>
                      </a:cubicBezTo>
                      <a:cubicBezTo>
                        <a:pt x="604837" y="790742"/>
                        <a:pt x="604837" y="635797"/>
                        <a:pt x="604837" y="168108"/>
                      </a:cubicBezTo>
                      <a:cubicBezTo>
                        <a:pt x="604837" y="159540"/>
                        <a:pt x="611977" y="152400"/>
                        <a:pt x="620544" y="152400"/>
                      </a:cubicBezTo>
                      <a:close/>
                      <a:moveTo>
                        <a:pt x="923757" y="0"/>
                      </a:moveTo>
                      <a:cubicBezTo>
                        <a:pt x="923757" y="0"/>
                        <a:pt x="923757" y="0"/>
                        <a:pt x="1162218" y="0"/>
                      </a:cubicBezTo>
                      <a:cubicBezTo>
                        <a:pt x="1170786" y="0"/>
                        <a:pt x="1177925" y="7143"/>
                        <a:pt x="1177925" y="15715"/>
                      </a:cubicBezTo>
                      <a:cubicBezTo>
                        <a:pt x="1177925" y="15715"/>
                        <a:pt x="1177925" y="168576"/>
                        <a:pt x="1177925" y="790735"/>
                      </a:cubicBezTo>
                      <a:cubicBezTo>
                        <a:pt x="1177925" y="800021"/>
                        <a:pt x="1170786" y="806450"/>
                        <a:pt x="1162218" y="806450"/>
                      </a:cubicBezTo>
                      <a:cubicBezTo>
                        <a:pt x="1162218" y="806450"/>
                        <a:pt x="1162218" y="806450"/>
                        <a:pt x="923757" y="806450"/>
                      </a:cubicBezTo>
                      <a:cubicBezTo>
                        <a:pt x="915190" y="806450"/>
                        <a:pt x="908050" y="800021"/>
                        <a:pt x="908050" y="790735"/>
                      </a:cubicBezTo>
                      <a:cubicBezTo>
                        <a:pt x="908050" y="790735"/>
                        <a:pt x="908050" y="637874"/>
                        <a:pt x="908050" y="15715"/>
                      </a:cubicBezTo>
                      <a:cubicBezTo>
                        <a:pt x="908050" y="7143"/>
                        <a:pt x="915190" y="0"/>
                        <a:pt x="92375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49" name="Group 48"/>
          <p:cNvGrpSpPr/>
          <p:nvPr/>
        </p:nvGrpSpPr>
        <p:grpSpPr>
          <a:xfrm>
            <a:off x="1199206" y="5024142"/>
            <a:ext cx="1063701" cy="1063701"/>
            <a:chOff x="1199206" y="4612064"/>
            <a:chExt cx="1063701" cy="1063701"/>
          </a:xfrm>
        </p:grpSpPr>
        <p:sp>
          <p:nvSpPr>
            <p:cNvPr id="30" name="Oval 29"/>
            <p:cNvSpPr/>
            <p:nvPr/>
          </p:nvSpPr>
          <p:spPr>
            <a:xfrm>
              <a:off x="1199206" y="4612064"/>
              <a:ext cx="1063701" cy="1063701"/>
            </a:xfrm>
            <a:prstGeom prst="ellipse">
              <a:avLst/>
            </a:prstGeom>
            <a:solidFill>
              <a:srgbClr val="FFFFFF"/>
            </a:solidFill>
            <a:ln w="28575"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46" name="bcgBugs_ToolKit"/>
            <p:cNvGrpSpPr>
              <a:grpSpLocks noChangeAspect="1"/>
            </p:cNvGrpSpPr>
            <p:nvPr/>
          </p:nvGrpSpPr>
          <p:grpSpPr bwMode="auto">
            <a:xfrm>
              <a:off x="1502680" y="4915314"/>
              <a:ext cx="456753" cy="457200"/>
              <a:chOff x="2818" y="1137"/>
              <a:chExt cx="2044" cy="2046"/>
            </a:xfrm>
          </p:grpSpPr>
          <p:sp>
            <p:nvSpPr>
              <p:cNvPr id="47"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7"/>
              <p:cNvSpPr>
                <a:spLocks noEditPoints="1"/>
              </p:cNvSpPr>
              <p:nvPr/>
            </p:nvSpPr>
            <p:spPr bwMode="auto">
              <a:xfrm>
                <a:off x="2941" y="1276"/>
                <a:ext cx="1825" cy="1727"/>
              </a:xfrm>
              <a:custGeom>
                <a:avLst/>
                <a:gdLst>
                  <a:gd name="T0" fmla="*/ 552 w 892"/>
                  <a:gd name="T1" fmla="*/ 404 h 843"/>
                  <a:gd name="T2" fmla="*/ 525 w 892"/>
                  <a:gd name="T3" fmla="*/ 398 h 843"/>
                  <a:gd name="T4" fmla="*/ 516 w 892"/>
                  <a:gd name="T5" fmla="*/ 368 h 843"/>
                  <a:gd name="T6" fmla="*/ 464 w 892"/>
                  <a:gd name="T7" fmla="*/ 329 h 843"/>
                  <a:gd name="T8" fmla="*/ 409 w 892"/>
                  <a:gd name="T9" fmla="*/ 370 h 843"/>
                  <a:gd name="T10" fmla="*/ 131 w 892"/>
                  <a:gd name="T11" fmla="*/ 93 h 843"/>
                  <a:gd name="T12" fmla="*/ 36 w 892"/>
                  <a:gd name="T13" fmla="*/ 10 h 843"/>
                  <a:gd name="T14" fmla="*/ 18 w 892"/>
                  <a:gd name="T15" fmla="*/ 28 h 843"/>
                  <a:gd name="T16" fmla="*/ 45 w 892"/>
                  <a:gd name="T17" fmla="*/ 135 h 843"/>
                  <a:gd name="T18" fmla="*/ 356 w 892"/>
                  <a:gd name="T19" fmla="*/ 417 h 843"/>
                  <a:gd name="T20" fmla="*/ 329 w 892"/>
                  <a:gd name="T21" fmla="*/ 451 h 843"/>
                  <a:gd name="T22" fmla="*/ 329 w 892"/>
                  <a:gd name="T23" fmla="*/ 497 h 843"/>
                  <a:gd name="T24" fmla="*/ 381 w 892"/>
                  <a:gd name="T25" fmla="*/ 536 h 843"/>
                  <a:gd name="T26" fmla="*/ 387 w 892"/>
                  <a:gd name="T27" fmla="*/ 547 h 843"/>
                  <a:gd name="T28" fmla="*/ 664 w 892"/>
                  <a:gd name="T29" fmla="*/ 832 h 843"/>
                  <a:gd name="T30" fmla="*/ 784 w 892"/>
                  <a:gd name="T31" fmla="*/ 794 h 843"/>
                  <a:gd name="T32" fmla="*/ 697 w 892"/>
                  <a:gd name="T33" fmla="*/ 774 h 843"/>
                  <a:gd name="T34" fmla="*/ 666 w 892"/>
                  <a:gd name="T35" fmla="*/ 774 h 843"/>
                  <a:gd name="T36" fmla="*/ 453 w 892"/>
                  <a:gd name="T37" fmla="*/ 531 h 843"/>
                  <a:gd name="T38" fmla="*/ 697 w 892"/>
                  <a:gd name="T39" fmla="*/ 743 h 843"/>
                  <a:gd name="T40" fmla="*/ 764 w 892"/>
                  <a:gd name="T41" fmla="*/ 707 h 843"/>
                  <a:gd name="T42" fmla="*/ 733 w 892"/>
                  <a:gd name="T43" fmla="*/ 707 h 843"/>
                  <a:gd name="T44" fmla="*/ 521 w 892"/>
                  <a:gd name="T45" fmla="*/ 464 h 843"/>
                  <a:gd name="T46" fmla="*/ 764 w 892"/>
                  <a:gd name="T47" fmla="*/ 676 h 843"/>
                  <a:gd name="T48" fmla="*/ 377 w 892"/>
                  <a:gd name="T49" fmla="*/ 607 h 843"/>
                  <a:gd name="T50" fmla="*/ 90 w 892"/>
                  <a:gd name="T51" fmla="*/ 801 h 843"/>
                  <a:gd name="T52" fmla="*/ 286 w 892"/>
                  <a:gd name="T53" fmla="*/ 513 h 843"/>
                  <a:gd name="T54" fmla="*/ 327 w 892"/>
                  <a:gd name="T55" fmla="*/ 557 h 843"/>
                  <a:gd name="T56" fmla="*/ 350 w 892"/>
                  <a:gd name="T57" fmla="*/ 581 h 843"/>
                  <a:gd name="T58" fmla="*/ 504 w 892"/>
                  <a:gd name="T59" fmla="*/ 295 h 843"/>
                  <a:gd name="T60" fmla="*/ 591 w 892"/>
                  <a:gd name="T61" fmla="*/ 61 h 843"/>
                  <a:gd name="T62" fmla="*/ 698 w 892"/>
                  <a:gd name="T63" fmla="*/ 95 h 843"/>
                  <a:gd name="T64" fmla="*/ 662 w 892"/>
                  <a:gd name="T65" fmla="*/ 230 h 843"/>
                  <a:gd name="T66" fmla="*/ 796 w 892"/>
                  <a:gd name="T67" fmla="*/ 194 h 843"/>
                  <a:gd name="T68" fmla="*/ 831 w 892"/>
                  <a:gd name="T69" fmla="*/ 300 h 843"/>
                  <a:gd name="T70" fmla="*/ 599 w 892"/>
                  <a:gd name="T71" fmla="*/ 385 h 843"/>
                  <a:gd name="T72" fmla="*/ 571 w 892"/>
                  <a:gd name="T73" fmla="*/ 361 h 843"/>
                  <a:gd name="T74" fmla="*/ 547 w 892"/>
                  <a:gd name="T75" fmla="*/ 337 h 843"/>
                  <a:gd name="T76" fmla="*/ 503 w 892"/>
                  <a:gd name="T77" fmla="*/ 29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2" h="843">
                    <a:moveTo>
                      <a:pt x="822" y="674"/>
                    </a:moveTo>
                    <a:cubicBezTo>
                      <a:pt x="552" y="404"/>
                      <a:pt x="552" y="404"/>
                      <a:pt x="552" y="404"/>
                    </a:cubicBezTo>
                    <a:cubicBezTo>
                      <a:pt x="548" y="400"/>
                      <a:pt x="543" y="398"/>
                      <a:pt x="537" y="398"/>
                    </a:cubicBezTo>
                    <a:cubicBezTo>
                      <a:pt x="525" y="398"/>
                      <a:pt x="525" y="398"/>
                      <a:pt x="525" y="398"/>
                    </a:cubicBezTo>
                    <a:cubicBezTo>
                      <a:pt x="525" y="396"/>
                      <a:pt x="526" y="394"/>
                      <a:pt x="526" y="391"/>
                    </a:cubicBezTo>
                    <a:cubicBezTo>
                      <a:pt x="526" y="383"/>
                      <a:pt x="522" y="375"/>
                      <a:pt x="516" y="368"/>
                    </a:cubicBezTo>
                    <a:cubicBezTo>
                      <a:pt x="487" y="339"/>
                      <a:pt x="487" y="339"/>
                      <a:pt x="487" y="339"/>
                    </a:cubicBezTo>
                    <a:cubicBezTo>
                      <a:pt x="480" y="333"/>
                      <a:pt x="472" y="329"/>
                      <a:pt x="464" y="329"/>
                    </a:cubicBezTo>
                    <a:cubicBezTo>
                      <a:pt x="455" y="329"/>
                      <a:pt x="447" y="333"/>
                      <a:pt x="441" y="339"/>
                    </a:cubicBezTo>
                    <a:cubicBezTo>
                      <a:pt x="409" y="370"/>
                      <a:pt x="409" y="370"/>
                      <a:pt x="409" y="370"/>
                    </a:cubicBezTo>
                    <a:cubicBezTo>
                      <a:pt x="409" y="370"/>
                      <a:pt x="408" y="369"/>
                      <a:pt x="407" y="368"/>
                    </a:cubicBezTo>
                    <a:cubicBezTo>
                      <a:pt x="131" y="93"/>
                      <a:pt x="131" y="93"/>
                      <a:pt x="131" y="93"/>
                    </a:cubicBezTo>
                    <a:cubicBezTo>
                      <a:pt x="125" y="55"/>
                      <a:pt x="125" y="55"/>
                      <a:pt x="125" y="55"/>
                    </a:cubicBezTo>
                    <a:cubicBezTo>
                      <a:pt x="36" y="10"/>
                      <a:pt x="36" y="10"/>
                      <a:pt x="36" y="10"/>
                    </a:cubicBezTo>
                    <a:cubicBezTo>
                      <a:pt x="18" y="28"/>
                      <a:pt x="18" y="28"/>
                      <a:pt x="18" y="28"/>
                    </a:cubicBezTo>
                    <a:cubicBezTo>
                      <a:pt x="18" y="28"/>
                      <a:pt x="18" y="28"/>
                      <a:pt x="18" y="28"/>
                    </a:cubicBezTo>
                    <a:cubicBezTo>
                      <a:pt x="0" y="46"/>
                      <a:pt x="0" y="46"/>
                      <a:pt x="0" y="46"/>
                    </a:cubicBezTo>
                    <a:cubicBezTo>
                      <a:pt x="45" y="135"/>
                      <a:pt x="45" y="135"/>
                      <a:pt x="45" y="135"/>
                    </a:cubicBezTo>
                    <a:cubicBezTo>
                      <a:pt x="79" y="141"/>
                      <a:pt x="79" y="141"/>
                      <a:pt x="79" y="141"/>
                    </a:cubicBezTo>
                    <a:cubicBezTo>
                      <a:pt x="356" y="417"/>
                      <a:pt x="356" y="417"/>
                      <a:pt x="356" y="417"/>
                    </a:cubicBezTo>
                    <a:cubicBezTo>
                      <a:pt x="357" y="418"/>
                      <a:pt x="358" y="419"/>
                      <a:pt x="359" y="420"/>
                    </a:cubicBezTo>
                    <a:cubicBezTo>
                      <a:pt x="329" y="451"/>
                      <a:pt x="329" y="451"/>
                      <a:pt x="329" y="451"/>
                    </a:cubicBezTo>
                    <a:cubicBezTo>
                      <a:pt x="322" y="457"/>
                      <a:pt x="319" y="465"/>
                      <a:pt x="319" y="474"/>
                    </a:cubicBezTo>
                    <a:cubicBezTo>
                      <a:pt x="319" y="482"/>
                      <a:pt x="322" y="491"/>
                      <a:pt x="329" y="497"/>
                    </a:cubicBezTo>
                    <a:cubicBezTo>
                      <a:pt x="358" y="526"/>
                      <a:pt x="358" y="526"/>
                      <a:pt x="358" y="526"/>
                    </a:cubicBezTo>
                    <a:cubicBezTo>
                      <a:pt x="365" y="533"/>
                      <a:pt x="373" y="536"/>
                      <a:pt x="381" y="536"/>
                    </a:cubicBezTo>
                    <a:cubicBezTo>
                      <a:pt x="383" y="536"/>
                      <a:pt x="385" y="536"/>
                      <a:pt x="387" y="535"/>
                    </a:cubicBezTo>
                    <a:cubicBezTo>
                      <a:pt x="387" y="547"/>
                      <a:pt x="387" y="547"/>
                      <a:pt x="387" y="547"/>
                    </a:cubicBezTo>
                    <a:cubicBezTo>
                      <a:pt x="388" y="553"/>
                      <a:pt x="390" y="558"/>
                      <a:pt x="394" y="562"/>
                    </a:cubicBezTo>
                    <a:cubicBezTo>
                      <a:pt x="664" y="832"/>
                      <a:pt x="664" y="832"/>
                      <a:pt x="664" y="832"/>
                    </a:cubicBezTo>
                    <a:cubicBezTo>
                      <a:pt x="672" y="840"/>
                      <a:pt x="682" y="843"/>
                      <a:pt x="693" y="843"/>
                    </a:cubicBezTo>
                    <a:cubicBezTo>
                      <a:pt x="721" y="843"/>
                      <a:pt x="756" y="821"/>
                      <a:pt x="784" y="794"/>
                    </a:cubicBezTo>
                    <a:cubicBezTo>
                      <a:pt x="822" y="756"/>
                      <a:pt x="850" y="702"/>
                      <a:pt x="822" y="674"/>
                    </a:cubicBezTo>
                    <a:close/>
                    <a:moveTo>
                      <a:pt x="697" y="774"/>
                    </a:moveTo>
                    <a:cubicBezTo>
                      <a:pt x="693" y="779"/>
                      <a:pt x="687" y="781"/>
                      <a:pt x="682" y="781"/>
                    </a:cubicBezTo>
                    <a:cubicBezTo>
                      <a:pt x="676" y="781"/>
                      <a:pt x="670" y="779"/>
                      <a:pt x="666" y="774"/>
                    </a:cubicBezTo>
                    <a:cubicBezTo>
                      <a:pt x="453" y="562"/>
                      <a:pt x="453" y="562"/>
                      <a:pt x="453" y="562"/>
                    </a:cubicBezTo>
                    <a:cubicBezTo>
                      <a:pt x="445" y="553"/>
                      <a:pt x="445" y="539"/>
                      <a:pt x="453" y="531"/>
                    </a:cubicBezTo>
                    <a:cubicBezTo>
                      <a:pt x="462" y="522"/>
                      <a:pt x="476" y="522"/>
                      <a:pt x="485" y="531"/>
                    </a:cubicBezTo>
                    <a:cubicBezTo>
                      <a:pt x="697" y="743"/>
                      <a:pt x="697" y="743"/>
                      <a:pt x="697" y="743"/>
                    </a:cubicBezTo>
                    <a:cubicBezTo>
                      <a:pt x="706" y="752"/>
                      <a:pt x="706" y="766"/>
                      <a:pt x="697" y="774"/>
                    </a:cubicBezTo>
                    <a:close/>
                    <a:moveTo>
                      <a:pt x="764" y="707"/>
                    </a:moveTo>
                    <a:cubicBezTo>
                      <a:pt x="760" y="712"/>
                      <a:pt x="754" y="714"/>
                      <a:pt x="749" y="714"/>
                    </a:cubicBezTo>
                    <a:cubicBezTo>
                      <a:pt x="743" y="714"/>
                      <a:pt x="737" y="712"/>
                      <a:pt x="733" y="707"/>
                    </a:cubicBezTo>
                    <a:cubicBezTo>
                      <a:pt x="521" y="495"/>
                      <a:pt x="521" y="495"/>
                      <a:pt x="521" y="495"/>
                    </a:cubicBezTo>
                    <a:cubicBezTo>
                      <a:pt x="512" y="486"/>
                      <a:pt x="512" y="472"/>
                      <a:pt x="521" y="464"/>
                    </a:cubicBezTo>
                    <a:cubicBezTo>
                      <a:pt x="529" y="455"/>
                      <a:pt x="543" y="455"/>
                      <a:pt x="552" y="464"/>
                    </a:cubicBezTo>
                    <a:cubicBezTo>
                      <a:pt x="764" y="676"/>
                      <a:pt x="764" y="676"/>
                      <a:pt x="764" y="676"/>
                    </a:cubicBezTo>
                    <a:cubicBezTo>
                      <a:pt x="773" y="685"/>
                      <a:pt x="773" y="699"/>
                      <a:pt x="764" y="707"/>
                    </a:cubicBezTo>
                    <a:close/>
                    <a:moveTo>
                      <a:pt x="377" y="607"/>
                    </a:moveTo>
                    <a:cubicBezTo>
                      <a:pt x="184" y="799"/>
                      <a:pt x="184" y="799"/>
                      <a:pt x="184" y="799"/>
                    </a:cubicBezTo>
                    <a:cubicBezTo>
                      <a:pt x="158" y="826"/>
                      <a:pt x="116" y="827"/>
                      <a:pt x="90" y="801"/>
                    </a:cubicBezTo>
                    <a:cubicBezTo>
                      <a:pt x="65" y="776"/>
                      <a:pt x="66" y="734"/>
                      <a:pt x="93" y="707"/>
                    </a:cubicBezTo>
                    <a:cubicBezTo>
                      <a:pt x="286" y="513"/>
                      <a:pt x="286" y="513"/>
                      <a:pt x="286" y="513"/>
                    </a:cubicBezTo>
                    <a:cubicBezTo>
                      <a:pt x="289" y="519"/>
                      <a:pt x="293" y="523"/>
                      <a:pt x="297" y="528"/>
                    </a:cubicBezTo>
                    <a:cubicBezTo>
                      <a:pt x="327" y="557"/>
                      <a:pt x="327" y="557"/>
                      <a:pt x="327" y="557"/>
                    </a:cubicBezTo>
                    <a:cubicBezTo>
                      <a:pt x="332" y="563"/>
                      <a:pt x="338" y="567"/>
                      <a:pt x="345" y="571"/>
                    </a:cubicBezTo>
                    <a:cubicBezTo>
                      <a:pt x="346" y="574"/>
                      <a:pt x="348" y="578"/>
                      <a:pt x="350" y="581"/>
                    </a:cubicBezTo>
                    <a:lnTo>
                      <a:pt x="377" y="607"/>
                    </a:lnTo>
                    <a:close/>
                    <a:moveTo>
                      <a:pt x="504" y="295"/>
                    </a:moveTo>
                    <a:cubicBezTo>
                      <a:pt x="555" y="245"/>
                      <a:pt x="555" y="245"/>
                      <a:pt x="555" y="245"/>
                    </a:cubicBezTo>
                    <a:cubicBezTo>
                      <a:pt x="529" y="184"/>
                      <a:pt x="542" y="111"/>
                      <a:pt x="591" y="61"/>
                    </a:cubicBezTo>
                    <a:cubicBezTo>
                      <a:pt x="640" y="13"/>
                      <a:pt x="710" y="0"/>
                      <a:pt x="771" y="22"/>
                    </a:cubicBezTo>
                    <a:cubicBezTo>
                      <a:pt x="698" y="95"/>
                      <a:pt x="698" y="95"/>
                      <a:pt x="698" y="95"/>
                    </a:cubicBezTo>
                    <a:cubicBezTo>
                      <a:pt x="641" y="152"/>
                      <a:pt x="641" y="152"/>
                      <a:pt x="641" y="152"/>
                    </a:cubicBezTo>
                    <a:cubicBezTo>
                      <a:pt x="662" y="230"/>
                      <a:pt x="662" y="230"/>
                      <a:pt x="662" y="230"/>
                    </a:cubicBezTo>
                    <a:cubicBezTo>
                      <a:pt x="739" y="250"/>
                      <a:pt x="739" y="250"/>
                      <a:pt x="739" y="250"/>
                    </a:cubicBezTo>
                    <a:cubicBezTo>
                      <a:pt x="796" y="194"/>
                      <a:pt x="796" y="194"/>
                      <a:pt x="796" y="194"/>
                    </a:cubicBezTo>
                    <a:cubicBezTo>
                      <a:pt x="869" y="121"/>
                      <a:pt x="869" y="121"/>
                      <a:pt x="869" y="121"/>
                    </a:cubicBezTo>
                    <a:cubicBezTo>
                      <a:pt x="892" y="181"/>
                      <a:pt x="879" y="252"/>
                      <a:pt x="831" y="300"/>
                    </a:cubicBezTo>
                    <a:cubicBezTo>
                      <a:pt x="781" y="350"/>
                      <a:pt x="708" y="362"/>
                      <a:pt x="646" y="337"/>
                    </a:cubicBezTo>
                    <a:cubicBezTo>
                      <a:pt x="599" y="385"/>
                      <a:pt x="599" y="385"/>
                      <a:pt x="599" y="385"/>
                    </a:cubicBezTo>
                    <a:cubicBezTo>
                      <a:pt x="597" y="387"/>
                      <a:pt x="597" y="387"/>
                      <a:pt x="597" y="387"/>
                    </a:cubicBezTo>
                    <a:cubicBezTo>
                      <a:pt x="571" y="361"/>
                      <a:pt x="571" y="361"/>
                      <a:pt x="571" y="361"/>
                    </a:cubicBezTo>
                    <a:cubicBezTo>
                      <a:pt x="568" y="358"/>
                      <a:pt x="564" y="356"/>
                      <a:pt x="560" y="355"/>
                    </a:cubicBezTo>
                    <a:cubicBezTo>
                      <a:pt x="557" y="348"/>
                      <a:pt x="553" y="343"/>
                      <a:pt x="547" y="337"/>
                    </a:cubicBezTo>
                    <a:cubicBezTo>
                      <a:pt x="518" y="308"/>
                      <a:pt x="518" y="308"/>
                      <a:pt x="518" y="308"/>
                    </a:cubicBezTo>
                    <a:cubicBezTo>
                      <a:pt x="513" y="303"/>
                      <a:pt x="508" y="300"/>
                      <a:pt x="503" y="296"/>
                    </a:cubicBezTo>
                    <a:lnTo>
                      <a:pt x="504" y="29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875342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523466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66"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p:txBody>
          <a:bodyPr/>
          <a:lstStyle/>
          <a:p>
            <a:r>
              <a:rPr lang="en-US" dirty="0"/>
              <a:t>Exercise 1.1</a:t>
            </a:r>
            <a:br>
              <a:rPr lang="en-US" dirty="0"/>
            </a:br>
            <a:r>
              <a:rPr lang="en-US" dirty="0"/>
              <a:t>Brainstorming</a:t>
            </a:r>
            <a:br>
              <a:rPr lang="en-US" dirty="0"/>
            </a:br>
            <a:r>
              <a:rPr lang="en-US" sz="2000" dirty="0"/>
              <a:t>Branch </a:t>
            </a:r>
            <a:r>
              <a:rPr lang="fr-FR" sz="2000" dirty="0" err="1"/>
              <a:t>origin</a:t>
            </a:r>
            <a:r>
              <a:rPr lang="fr-FR" sz="2000" dirty="0"/>
              <a:t>/training/ex-basics</a:t>
            </a:r>
            <a:r>
              <a:rPr lang="fr-FR" sz="2000" b="1" dirty="0"/>
              <a:t/>
            </a:r>
            <a:br>
              <a:rPr lang="fr-FR" sz="2000" b="1" dirty="0"/>
            </a:br>
            <a:endParaRPr lang="en-US" sz="2000" dirty="0"/>
          </a:p>
        </p:txBody>
      </p:sp>
      <p:pic>
        <p:nvPicPr>
          <p:cNvPr id="9" name="Picture Placeholder 8"/>
          <p:cNvPicPr>
            <a:picLocks noGrp="1" noChangeAspect="1"/>
          </p:cNvPicPr>
          <p:nvPr>
            <p:ph type="pic" sz="quarter" idx="11"/>
          </p:nvPr>
        </p:nvPicPr>
        <p:blipFill>
          <a:blip r:embed="rId9">
            <a:extLst>
              <a:ext uri="{28A0092B-C50C-407E-A947-70E740481C1C}">
                <a14:useLocalDpi xmlns:a14="http://schemas.microsoft.com/office/drawing/2010/main" val="0"/>
              </a:ext>
            </a:extLst>
          </a:blip>
          <a:srcRect l="28750" r="28750"/>
          <a:stretch>
            <a:fillRect/>
          </a:stretch>
        </p:blipFill>
        <p:spPr/>
      </p:pic>
    </p:spTree>
    <p:custDataLst>
      <p:tags r:id="rId2"/>
    </p:custDataLst>
    <p:extLst>
      <p:ext uri="{BB962C8B-B14F-4D97-AF65-F5344CB8AC3E}">
        <p14:creationId xmlns:p14="http://schemas.microsoft.com/office/powerpoint/2010/main" val="198353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59"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 name="Group 4"/>
          <p:cNvGrpSpPr>
            <a:grpSpLocks noChangeAspect="1"/>
          </p:cNvGrpSpPr>
          <p:nvPr/>
        </p:nvGrpSpPr>
        <p:grpSpPr>
          <a:xfrm>
            <a:off x="1075270" y="2467356"/>
            <a:ext cx="1914144" cy="1914144"/>
            <a:chOff x="628650" y="3868738"/>
            <a:chExt cx="269875" cy="269875"/>
          </a:xfrm>
        </p:grpSpPr>
        <p:sp>
          <p:nvSpPr>
            <p:cNvPr id="6" name="Oval 42"/>
            <p:cNvSpPr>
              <a:spLocks noChangeArrowheads="1"/>
            </p:cNvSpPr>
            <p:nvPr/>
          </p:nvSpPr>
          <p:spPr bwMode="auto">
            <a:xfrm>
              <a:off x="628650"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 name="Freeform 43"/>
            <p:cNvSpPr>
              <a:spLocks noEditPoints="1"/>
            </p:cNvSpPr>
            <p:nvPr/>
          </p:nvSpPr>
          <p:spPr bwMode="auto">
            <a:xfrm>
              <a:off x="731837" y="3929063"/>
              <a:ext cx="63500" cy="147637"/>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TextBox 3"/>
          <p:cNvSpPr txBox="1"/>
          <p:nvPr/>
        </p:nvSpPr>
        <p:spPr>
          <a:xfrm>
            <a:off x="4700016" y="2081213"/>
            <a:ext cx="6863334" cy="4045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3200" dirty="0">
                <a:solidFill>
                  <a:srgbClr val="FFFFFF"/>
                </a:solidFill>
              </a:rPr>
              <a:t>Brainstorming Session</a:t>
            </a:r>
          </a:p>
          <a:p>
            <a:endParaRPr lang="en-US" sz="3200" dirty="0">
              <a:solidFill>
                <a:srgbClr val="D4DF33"/>
              </a:solidFill>
            </a:endParaRPr>
          </a:p>
          <a:p>
            <a:r>
              <a:rPr lang="en-US" sz="2000" dirty="0">
                <a:solidFill>
                  <a:srgbClr val="FFFFFF"/>
                </a:solidFill>
              </a:rPr>
              <a:t>Spend 10' to read the notebook </a:t>
            </a:r>
            <a:r>
              <a:rPr lang="fr-FR" sz="2000" dirty="0" err="1">
                <a:solidFill>
                  <a:srgbClr val="D4DF33"/>
                </a:solidFill>
              </a:rPr>
              <a:t>original_work.ipynb</a:t>
            </a:r>
            <a:r>
              <a:rPr lang="fr-FR" sz="2000" dirty="0"/>
              <a:t>, </a:t>
            </a:r>
            <a:r>
              <a:rPr lang="fr-FR" sz="2000" dirty="0" err="1"/>
              <a:t>available</a:t>
            </a:r>
            <a:r>
              <a:rPr lang="fr-FR" sz="2000" dirty="0"/>
              <a:t> at the </a:t>
            </a:r>
            <a:r>
              <a:rPr lang="fr-FR" sz="2000" dirty="0" err="1"/>
              <a:t>root</a:t>
            </a:r>
            <a:r>
              <a:rPr lang="fr-FR" sz="2000" dirty="0"/>
              <a:t> of the </a:t>
            </a:r>
            <a:r>
              <a:rPr lang="fr-FR" sz="2000" dirty="0" err="1"/>
              <a:t>repository</a:t>
            </a:r>
            <a:r>
              <a:rPr lang="fr-FR" sz="2000" dirty="0"/>
              <a:t> and </a:t>
            </a:r>
            <a:r>
              <a:rPr lang="fr-FR" sz="2000" dirty="0" err="1"/>
              <a:t>identify</a:t>
            </a:r>
            <a:r>
              <a:rPr lang="fr-FR" sz="2000" dirty="0"/>
              <a:t> </a:t>
            </a:r>
            <a:r>
              <a:rPr lang="fr-FR" sz="2000" dirty="0" err="1"/>
              <a:t>what</a:t>
            </a:r>
            <a:r>
              <a:rPr lang="fr-FR" sz="2000" dirty="0"/>
              <a:t> is </a:t>
            </a:r>
            <a:r>
              <a:rPr lang="fr-FR" sz="2000" dirty="0" err="1"/>
              <a:t>problematic</a:t>
            </a:r>
            <a:r>
              <a:rPr lang="fr-FR" sz="2000" dirty="0"/>
              <a:t> to </a:t>
            </a:r>
            <a:r>
              <a:rPr lang="fr-FR" sz="2000" dirty="0" err="1">
                <a:solidFill>
                  <a:srgbClr val="D4DF33"/>
                </a:solidFill>
              </a:rPr>
              <a:t>industralize</a:t>
            </a:r>
            <a:r>
              <a:rPr lang="fr-FR" sz="2000" dirty="0">
                <a:solidFill>
                  <a:srgbClr val="D4DF33"/>
                </a:solidFill>
              </a:rPr>
              <a:t> </a:t>
            </a:r>
            <a:r>
              <a:rPr lang="fr-FR" sz="2000" dirty="0" err="1"/>
              <a:t>this</a:t>
            </a:r>
            <a:r>
              <a:rPr lang="fr-FR" sz="2000" dirty="0"/>
              <a:t> code</a:t>
            </a:r>
          </a:p>
          <a:p>
            <a:endParaRPr lang="fr-FR" sz="2000" dirty="0"/>
          </a:p>
          <a:p>
            <a:r>
              <a:rPr lang="fr-FR" sz="2000" dirty="0"/>
              <a:t>Do not focus on </a:t>
            </a:r>
            <a:r>
              <a:rPr lang="fr-FR" sz="2000" dirty="0" err="1"/>
              <a:t>what</a:t>
            </a:r>
            <a:r>
              <a:rPr lang="fr-FR" sz="2000" dirty="0"/>
              <a:t> is a good ML model for the </a:t>
            </a:r>
            <a:r>
              <a:rPr lang="fr-FR" sz="2000" dirty="0" err="1"/>
              <a:t>problem</a:t>
            </a:r>
            <a:r>
              <a:rPr lang="fr-FR" sz="2000" dirty="0"/>
              <a:t> but </a:t>
            </a:r>
            <a:r>
              <a:rPr lang="fr-FR" sz="2000" dirty="0" err="1"/>
              <a:t>rather</a:t>
            </a:r>
            <a:r>
              <a:rPr lang="fr-FR" sz="2000" dirty="0"/>
              <a:t> on </a:t>
            </a:r>
            <a:r>
              <a:rPr lang="fr-FR" sz="2000" dirty="0" err="1"/>
              <a:t>what</a:t>
            </a:r>
            <a:r>
              <a:rPr lang="fr-FR" sz="2000" dirty="0"/>
              <a:t> a </a:t>
            </a:r>
            <a:r>
              <a:rPr lang="fr-FR" sz="2000" dirty="0">
                <a:solidFill>
                  <a:srgbClr val="D4DF33"/>
                </a:solidFill>
              </a:rPr>
              <a:t>good code structure </a:t>
            </a:r>
            <a:r>
              <a:rPr lang="fr-FR" sz="2000" dirty="0" err="1"/>
              <a:t>should</a:t>
            </a:r>
            <a:r>
              <a:rPr lang="fr-FR" sz="2000" dirty="0"/>
              <a:t> look </a:t>
            </a:r>
            <a:r>
              <a:rPr lang="fr-FR" sz="2000" dirty="0" err="1"/>
              <a:t>like</a:t>
            </a:r>
            <a:endParaRPr lang="fr-FR" sz="2000" dirty="0"/>
          </a:p>
          <a:p>
            <a:r>
              <a:rPr lang="en-US" sz="3200" dirty="0">
                <a:solidFill>
                  <a:srgbClr val="D4DF33"/>
                </a:solidFill>
              </a:rPr>
              <a:t> </a:t>
            </a:r>
          </a:p>
        </p:txBody>
      </p:sp>
    </p:spTree>
    <p:custDataLst>
      <p:tags r:id="rId2"/>
    </p:custDataLst>
    <p:extLst>
      <p:ext uri="{BB962C8B-B14F-4D97-AF65-F5344CB8AC3E}">
        <p14:creationId xmlns:p14="http://schemas.microsoft.com/office/powerpoint/2010/main" val="1875423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70102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76"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8" name="Oval 57"/>
          <p:cNvSpPr/>
          <p:nvPr/>
        </p:nvSpPr>
        <p:spPr>
          <a:xfrm>
            <a:off x="1037421" y="5554071"/>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54" name="Oval 53"/>
          <p:cNvSpPr/>
          <p:nvPr/>
        </p:nvSpPr>
        <p:spPr>
          <a:xfrm>
            <a:off x="990905" y="1577477"/>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sp>
        <p:nvSpPr>
          <p:cNvPr id="2" name="Title 1"/>
          <p:cNvSpPr>
            <a:spLocks noGrp="1"/>
          </p:cNvSpPr>
          <p:nvPr>
            <p:ph type="title"/>
          </p:nvPr>
        </p:nvSpPr>
        <p:spPr/>
        <p:txBody>
          <a:bodyPr/>
          <a:lstStyle/>
          <a:p>
            <a:r>
              <a:rPr lang="en-US" dirty="0"/>
              <a:t>Brainstorming Session review</a:t>
            </a:r>
          </a:p>
        </p:txBody>
      </p:sp>
      <p:sp>
        <p:nvSpPr>
          <p:cNvPr id="10" name="TextBox 9"/>
          <p:cNvSpPr txBox="1"/>
          <p:nvPr/>
        </p:nvSpPr>
        <p:spPr>
          <a:xfrm>
            <a:off x="2169494" y="1722632"/>
            <a:ext cx="2616120" cy="3922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solidFill>
                  <a:srgbClr val="575757"/>
                </a:solidFill>
              </a:rPr>
              <a:t>Not structured</a:t>
            </a:r>
          </a:p>
          <a:p>
            <a:pPr algn="r"/>
            <a:endParaRPr lang="en-US" sz="2000" dirty="0">
              <a:solidFill>
                <a:srgbClr val="575757"/>
              </a:solidFill>
            </a:endParaRPr>
          </a:p>
          <a:p>
            <a:pPr algn="r"/>
            <a:endParaRPr lang="en-US" sz="2000" dirty="0">
              <a:solidFill>
                <a:srgbClr val="575757"/>
              </a:solidFill>
            </a:endParaRPr>
          </a:p>
          <a:p>
            <a:pPr algn="r"/>
            <a:endParaRPr lang="en-US" sz="2000" dirty="0">
              <a:solidFill>
                <a:srgbClr val="575757"/>
              </a:solidFill>
            </a:endParaRPr>
          </a:p>
        </p:txBody>
      </p:sp>
      <p:sp>
        <p:nvSpPr>
          <p:cNvPr id="12" name="TextBox 11"/>
          <p:cNvSpPr txBox="1"/>
          <p:nvPr/>
        </p:nvSpPr>
        <p:spPr>
          <a:xfrm>
            <a:off x="6497696" y="1600498"/>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smtClean="0">
                <a:solidFill>
                  <a:srgbClr val="7F7F7F"/>
                </a:solidFill>
              </a:rPr>
              <a:t>Object-Oriented </a:t>
            </a:r>
            <a:r>
              <a:rPr lang="en-US" sz="1600" dirty="0">
                <a:solidFill>
                  <a:srgbClr val="7F7F7F"/>
                </a:solidFill>
              </a:rPr>
              <a:t>Programming (OOP)</a:t>
            </a:r>
          </a:p>
        </p:txBody>
      </p:sp>
      <p:sp>
        <p:nvSpPr>
          <p:cNvPr id="14" name="Rectangle 13"/>
          <p:cNvSpPr/>
          <p:nvPr/>
        </p:nvSpPr>
        <p:spPr>
          <a:xfrm>
            <a:off x="2104898" y="3720760"/>
            <a:ext cx="2607564" cy="461665"/>
          </a:xfrm>
          <a:prstGeom prst="rect">
            <a:avLst/>
          </a:prstGeom>
        </p:spPr>
        <p:txBody>
          <a:bodyPr wrap="square">
            <a:spAutoFit/>
          </a:bodyPr>
          <a:lstStyle/>
          <a:p>
            <a:r>
              <a:rPr lang="en-US" sz="2400" dirty="0">
                <a:solidFill>
                  <a:srgbClr val="575757"/>
                </a:solidFill>
              </a:rPr>
              <a:t>Not robust</a:t>
            </a:r>
          </a:p>
        </p:txBody>
      </p:sp>
      <p:sp>
        <p:nvSpPr>
          <p:cNvPr id="17" name="Rectangle 16"/>
          <p:cNvSpPr/>
          <p:nvPr/>
        </p:nvSpPr>
        <p:spPr>
          <a:xfrm>
            <a:off x="2094992" y="2686983"/>
            <a:ext cx="2617470" cy="461665"/>
          </a:xfrm>
          <a:prstGeom prst="rect">
            <a:avLst/>
          </a:prstGeom>
        </p:spPr>
        <p:txBody>
          <a:bodyPr wrap="square">
            <a:spAutoFit/>
          </a:bodyPr>
          <a:lstStyle/>
          <a:p>
            <a:r>
              <a:rPr lang="en-US" sz="2400" dirty="0">
                <a:solidFill>
                  <a:srgbClr val="575757"/>
                </a:solidFill>
              </a:rPr>
              <a:t>Not flexible</a:t>
            </a:r>
          </a:p>
        </p:txBody>
      </p:sp>
      <p:sp>
        <p:nvSpPr>
          <p:cNvPr id="18" name="Rectangle 17"/>
          <p:cNvSpPr/>
          <p:nvPr/>
        </p:nvSpPr>
        <p:spPr>
          <a:xfrm>
            <a:off x="2104898" y="4754537"/>
            <a:ext cx="3439668" cy="461665"/>
          </a:xfrm>
          <a:prstGeom prst="rect">
            <a:avLst/>
          </a:prstGeom>
        </p:spPr>
        <p:txBody>
          <a:bodyPr wrap="square">
            <a:spAutoFit/>
          </a:bodyPr>
          <a:lstStyle/>
          <a:p>
            <a:r>
              <a:rPr lang="en-US" sz="2400" dirty="0">
                <a:solidFill>
                  <a:srgbClr val="575757"/>
                </a:solidFill>
              </a:rPr>
              <a:t>Not easily reproducible</a:t>
            </a:r>
          </a:p>
        </p:txBody>
      </p:sp>
      <p:sp>
        <p:nvSpPr>
          <p:cNvPr id="19" name="Rectangle 18"/>
          <p:cNvSpPr/>
          <p:nvPr/>
        </p:nvSpPr>
        <p:spPr>
          <a:xfrm>
            <a:off x="2030984" y="5788313"/>
            <a:ext cx="3513582" cy="461665"/>
          </a:xfrm>
          <a:prstGeom prst="rect">
            <a:avLst/>
          </a:prstGeom>
        </p:spPr>
        <p:txBody>
          <a:bodyPr wrap="square">
            <a:spAutoFit/>
          </a:bodyPr>
          <a:lstStyle/>
          <a:p>
            <a:r>
              <a:rPr lang="en-US" sz="2400" dirty="0">
                <a:solidFill>
                  <a:srgbClr val="575757"/>
                </a:solidFill>
              </a:rPr>
              <a:t>Not easily deployable</a:t>
            </a:r>
          </a:p>
        </p:txBody>
      </p:sp>
      <p:grpSp>
        <p:nvGrpSpPr>
          <p:cNvPr id="20" name="bcgIcons_LogicTree">
            <a:extLst>
              <a:ext uri="{FF2B5EF4-FFF2-40B4-BE49-F238E27FC236}">
                <a16:creationId xmlns:a16="http://schemas.microsoft.com/office/drawing/2014/main" xmlns="" id="{75517C07-F054-4829-ABCD-E121AE22A1D1}"/>
              </a:ext>
            </a:extLst>
          </p:cNvPr>
          <p:cNvGrpSpPr>
            <a:grpSpLocks noChangeAspect="1"/>
          </p:cNvGrpSpPr>
          <p:nvPr/>
        </p:nvGrpSpPr>
        <p:grpSpPr bwMode="auto">
          <a:xfrm>
            <a:off x="1070892" y="1624993"/>
            <a:ext cx="688086" cy="688724"/>
            <a:chOff x="1682" y="0"/>
            <a:chExt cx="4316" cy="4320"/>
          </a:xfrm>
        </p:grpSpPr>
        <p:sp>
          <p:nvSpPr>
            <p:cNvPr id="21" name="AutoShape 3">
              <a:extLst>
                <a:ext uri="{FF2B5EF4-FFF2-40B4-BE49-F238E27FC236}">
                  <a16:creationId xmlns:a16="http://schemas.microsoft.com/office/drawing/2014/main" xmlns="" id="{0752A4AF-84B3-4F20-B02C-7CECC8D059F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5">
              <a:extLst>
                <a:ext uri="{FF2B5EF4-FFF2-40B4-BE49-F238E27FC236}">
                  <a16:creationId xmlns:a16="http://schemas.microsoft.com/office/drawing/2014/main" xmlns="" id="{0543821B-2536-48B5-A624-D843C5D76085}"/>
                </a:ext>
              </a:extLst>
            </p:cNvPr>
            <p:cNvSpPr>
              <a:spLocks noEditPoints="1"/>
            </p:cNvSpPr>
            <p:nvPr/>
          </p:nvSpPr>
          <p:spPr bwMode="auto">
            <a:xfrm>
              <a:off x="2126" y="446"/>
              <a:ext cx="3424" cy="3428"/>
            </a:xfrm>
            <a:custGeom>
              <a:avLst/>
              <a:gdLst>
                <a:gd name="T0" fmla="*/ 914 w 1828"/>
                <a:gd name="T1" fmla="*/ 491 h 1828"/>
                <a:gd name="T2" fmla="*/ 668 w 1828"/>
                <a:gd name="T3" fmla="*/ 246 h 1828"/>
                <a:gd name="T4" fmla="*/ 914 w 1828"/>
                <a:gd name="T5" fmla="*/ 0 h 1828"/>
                <a:gd name="T6" fmla="*/ 1160 w 1828"/>
                <a:gd name="T7" fmla="*/ 246 h 1828"/>
                <a:gd name="T8" fmla="*/ 914 w 1828"/>
                <a:gd name="T9" fmla="*/ 491 h 1828"/>
                <a:gd name="T10" fmla="*/ 881 w 1828"/>
                <a:gd name="T11" fmla="*/ 1704 h 1828"/>
                <a:gd name="T12" fmla="*/ 757 w 1828"/>
                <a:gd name="T13" fmla="*/ 1580 h 1828"/>
                <a:gd name="T14" fmla="*/ 633 w 1828"/>
                <a:gd name="T15" fmla="*/ 1704 h 1828"/>
                <a:gd name="T16" fmla="*/ 757 w 1828"/>
                <a:gd name="T17" fmla="*/ 1828 h 1828"/>
                <a:gd name="T18" fmla="*/ 881 w 1828"/>
                <a:gd name="T19" fmla="*/ 1704 h 1828"/>
                <a:gd name="T20" fmla="*/ 1195 w 1828"/>
                <a:gd name="T21" fmla="*/ 1704 h 1828"/>
                <a:gd name="T22" fmla="*/ 1071 w 1828"/>
                <a:gd name="T23" fmla="*/ 1580 h 1828"/>
                <a:gd name="T24" fmla="*/ 947 w 1828"/>
                <a:gd name="T25" fmla="*/ 1704 h 1828"/>
                <a:gd name="T26" fmla="*/ 1071 w 1828"/>
                <a:gd name="T27" fmla="*/ 1828 h 1828"/>
                <a:gd name="T28" fmla="*/ 1195 w 1828"/>
                <a:gd name="T29" fmla="*/ 1704 h 1828"/>
                <a:gd name="T30" fmla="*/ 1513 w 1828"/>
                <a:gd name="T31" fmla="*/ 1704 h 1828"/>
                <a:gd name="T32" fmla="*/ 1389 w 1828"/>
                <a:gd name="T33" fmla="*/ 1580 h 1828"/>
                <a:gd name="T34" fmla="*/ 1265 w 1828"/>
                <a:gd name="T35" fmla="*/ 1704 h 1828"/>
                <a:gd name="T36" fmla="*/ 1389 w 1828"/>
                <a:gd name="T37" fmla="*/ 1828 h 1828"/>
                <a:gd name="T38" fmla="*/ 1513 w 1828"/>
                <a:gd name="T39" fmla="*/ 1704 h 1828"/>
                <a:gd name="T40" fmla="*/ 1828 w 1828"/>
                <a:gd name="T41" fmla="*/ 1704 h 1828"/>
                <a:gd name="T42" fmla="*/ 1704 w 1828"/>
                <a:gd name="T43" fmla="*/ 1580 h 1828"/>
                <a:gd name="T44" fmla="*/ 1580 w 1828"/>
                <a:gd name="T45" fmla="*/ 1704 h 1828"/>
                <a:gd name="T46" fmla="*/ 1704 w 1828"/>
                <a:gd name="T47" fmla="*/ 1828 h 1828"/>
                <a:gd name="T48" fmla="*/ 1828 w 1828"/>
                <a:gd name="T49" fmla="*/ 1704 h 1828"/>
                <a:gd name="T50" fmla="*/ 248 w 1828"/>
                <a:gd name="T51" fmla="*/ 1704 h 1828"/>
                <a:gd name="T52" fmla="*/ 124 w 1828"/>
                <a:gd name="T53" fmla="*/ 1580 h 1828"/>
                <a:gd name="T54" fmla="*/ 0 w 1828"/>
                <a:gd name="T55" fmla="*/ 1704 h 1828"/>
                <a:gd name="T56" fmla="*/ 124 w 1828"/>
                <a:gd name="T57" fmla="*/ 1828 h 1828"/>
                <a:gd name="T58" fmla="*/ 248 w 1828"/>
                <a:gd name="T59" fmla="*/ 1704 h 1828"/>
                <a:gd name="T60" fmla="*/ 563 w 1828"/>
                <a:gd name="T61" fmla="*/ 1704 h 1828"/>
                <a:gd name="T62" fmla="*/ 439 w 1828"/>
                <a:gd name="T63" fmla="*/ 1580 h 1828"/>
                <a:gd name="T64" fmla="*/ 315 w 1828"/>
                <a:gd name="T65" fmla="*/ 1704 h 1828"/>
                <a:gd name="T66" fmla="*/ 439 w 1828"/>
                <a:gd name="T67" fmla="*/ 1828 h 1828"/>
                <a:gd name="T68" fmla="*/ 563 w 1828"/>
                <a:gd name="T69" fmla="*/ 1704 h 1828"/>
                <a:gd name="T70" fmla="*/ 468 w 1828"/>
                <a:gd name="T71" fmla="*/ 1200 h 1828"/>
                <a:gd name="T72" fmla="*/ 468 w 1828"/>
                <a:gd name="T73" fmla="*/ 871 h 1828"/>
                <a:gd name="T74" fmla="*/ 446 w 1828"/>
                <a:gd name="T75" fmla="*/ 849 h 1828"/>
                <a:gd name="T76" fmla="*/ 117 w 1828"/>
                <a:gd name="T77" fmla="*/ 849 h 1828"/>
                <a:gd name="T78" fmla="*/ 95 w 1828"/>
                <a:gd name="T79" fmla="*/ 871 h 1828"/>
                <a:gd name="T80" fmla="*/ 95 w 1828"/>
                <a:gd name="T81" fmla="*/ 1200 h 1828"/>
                <a:gd name="T82" fmla="*/ 117 w 1828"/>
                <a:gd name="T83" fmla="*/ 1222 h 1828"/>
                <a:gd name="T84" fmla="*/ 446 w 1828"/>
                <a:gd name="T85" fmla="*/ 1222 h 1828"/>
                <a:gd name="T86" fmla="*/ 468 w 1828"/>
                <a:gd name="T87" fmla="*/ 1200 h 1828"/>
                <a:gd name="T88" fmla="*/ 1101 w 1828"/>
                <a:gd name="T89" fmla="*/ 1200 h 1828"/>
                <a:gd name="T90" fmla="*/ 1101 w 1828"/>
                <a:gd name="T91" fmla="*/ 871 h 1828"/>
                <a:gd name="T92" fmla="*/ 1079 w 1828"/>
                <a:gd name="T93" fmla="*/ 849 h 1828"/>
                <a:gd name="T94" fmla="*/ 749 w 1828"/>
                <a:gd name="T95" fmla="*/ 849 h 1828"/>
                <a:gd name="T96" fmla="*/ 727 w 1828"/>
                <a:gd name="T97" fmla="*/ 871 h 1828"/>
                <a:gd name="T98" fmla="*/ 727 w 1828"/>
                <a:gd name="T99" fmla="*/ 1200 h 1828"/>
                <a:gd name="T100" fmla="*/ 749 w 1828"/>
                <a:gd name="T101" fmla="*/ 1222 h 1828"/>
                <a:gd name="T102" fmla="*/ 1079 w 1828"/>
                <a:gd name="T103" fmla="*/ 1222 h 1828"/>
                <a:gd name="T104" fmla="*/ 1101 w 1828"/>
                <a:gd name="T105" fmla="*/ 1200 h 1828"/>
                <a:gd name="T106" fmla="*/ 1733 w 1828"/>
                <a:gd name="T107" fmla="*/ 1200 h 1828"/>
                <a:gd name="T108" fmla="*/ 1733 w 1828"/>
                <a:gd name="T109" fmla="*/ 871 h 1828"/>
                <a:gd name="T110" fmla="*/ 1711 w 1828"/>
                <a:gd name="T111" fmla="*/ 849 h 1828"/>
                <a:gd name="T112" fmla="*/ 1382 w 1828"/>
                <a:gd name="T113" fmla="*/ 849 h 1828"/>
                <a:gd name="T114" fmla="*/ 1360 w 1828"/>
                <a:gd name="T115" fmla="*/ 871 h 1828"/>
                <a:gd name="T116" fmla="*/ 1360 w 1828"/>
                <a:gd name="T117" fmla="*/ 1200 h 1828"/>
                <a:gd name="T118" fmla="*/ 1382 w 1828"/>
                <a:gd name="T119" fmla="*/ 1222 h 1828"/>
                <a:gd name="T120" fmla="*/ 1711 w 1828"/>
                <a:gd name="T121" fmla="*/ 1222 h 1828"/>
                <a:gd name="T122" fmla="*/ 1733 w 1828"/>
                <a:gd name="T123" fmla="*/ 120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8" h="1828">
                  <a:moveTo>
                    <a:pt x="914" y="491"/>
                  </a:moveTo>
                  <a:cubicBezTo>
                    <a:pt x="778" y="491"/>
                    <a:pt x="668" y="381"/>
                    <a:pt x="668" y="246"/>
                  </a:cubicBezTo>
                  <a:cubicBezTo>
                    <a:pt x="668" y="110"/>
                    <a:pt x="778" y="0"/>
                    <a:pt x="914" y="0"/>
                  </a:cubicBezTo>
                  <a:cubicBezTo>
                    <a:pt x="1050" y="0"/>
                    <a:pt x="1160" y="110"/>
                    <a:pt x="1160" y="246"/>
                  </a:cubicBezTo>
                  <a:cubicBezTo>
                    <a:pt x="1160" y="381"/>
                    <a:pt x="1050" y="491"/>
                    <a:pt x="914" y="491"/>
                  </a:cubicBezTo>
                  <a:close/>
                  <a:moveTo>
                    <a:pt x="881" y="1704"/>
                  </a:moveTo>
                  <a:cubicBezTo>
                    <a:pt x="881" y="1635"/>
                    <a:pt x="825" y="1580"/>
                    <a:pt x="757" y="1580"/>
                  </a:cubicBezTo>
                  <a:cubicBezTo>
                    <a:pt x="688" y="1580"/>
                    <a:pt x="633" y="1635"/>
                    <a:pt x="633" y="1704"/>
                  </a:cubicBezTo>
                  <a:cubicBezTo>
                    <a:pt x="633" y="1772"/>
                    <a:pt x="688" y="1828"/>
                    <a:pt x="757" y="1828"/>
                  </a:cubicBezTo>
                  <a:cubicBezTo>
                    <a:pt x="825" y="1828"/>
                    <a:pt x="881" y="1772"/>
                    <a:pt x="881" y="1704"/>
                  </a:cubicBezTo>
                  <a:close/>
                  <a:moveTo>
                    <a:pt x="1195" y="1704"/>
                  </a:moveTo>
                  <a:cubicBezTo>
                    <a:pt x="1195" y="1635"/>
                    <a:pt x="1140" y="1580"/>
                    <a:pt x="1071" y="1580"/>
                  </a:cubicBezTo>
                  <a:cubicBezTo>
                    <a:pt x="1003" y="1580"/>
                    <a:pt x="947" y="1635"/>
                    <a:pt x="947" y="1704"/>
                  </a:cubicBezTo>
                  <a:cubicBezTo>
                    <a:pt x="947" y="1772"/>
                    <a:pt x="1003" y="1828"/>
                    <a:pt x="1071" y="1828"/>
                  </a:cubicBezTo>
                  <a:cubicBezTo>
                    <a:pt x="1140" y="1828"/>
                    <a:pt x="1195" y="1772"/>
                    <a:pt x="1195" y="1704"/>
                  </a:cubicBezTo>
                  <a:close/>
                  <a:moveTo>
                    <a:pt x="1513" y="1704"/>
                  </a:moveTo>
                  <a:cubicBezTo>
                    <a:pt x="1513" y="1635"/>
                    <a:pt x="1458" y="1580"/>
                    <a:pt x="1389" y="1580"/>
                  </a:cubicBezTo>
                  <a:cubicBezTo>
                    <a:pt x="1321" y="1580"/>
                    <a:pt x="1265" y="1635"/>
                    <a:pt x="1265" y="1704"/>
                  </a:cubicBezTo>
                  <a:cubicBezTo>
                    <a:pt x="1265" y="1772"/>
                    <a:pt x="1321" y="1828"/>
                    <a:pt x="1389" y="1828"/>
                  </a:cubicBezTo>
                  <a:cubicBezTo>
                    <a:pt x="1458" y="1828"/>
                    <a:pt x="1513" y="1772"/>
                    <a:pt x="1513" y="1704"/>
                  </a:cubicBezTo>
                  <a:close/>
                  <a:moveTo>
                    <a:pt x="1828" y="1704"/>
                  </a:moveTo>
                  <a:cubicBezTo>
                    <a:pt x="1828" y="1635"/>
                    <a:pt x="1772" y="1580"/>
                    <a:pt x="1704" y="1580"/>
                  </a:cubicBezTo>
                  <a:cubicBezTo>
                    <a:pt x="1635" y="1580"/>
                    <a:pt x="1580" y="1635"/>
                    <a:pt x="1580" y="1704"/>
                  </a:cubicBezTo>
                  <a:cubicBezTo>
                    <a:pt x="1580" y="1772"/>
                    <a:pt x="1635" y="1828"/>
                    <a:pt x="1704" y="1828"/>
                  </a:cubicBezTo>
                  <a:cubicBezTo>
                    <a:pt x="1772" y="1828"/>
                    <a:pt x="1828" y="1772"/>
                    <a:pt x="1828" y="1704"/>
                  </a:cubicBezTo>
                  <a:close/>
                  <a:moveTo>
                    <a:pt x="248" y="1704"/>
                  </a:moveTo>
                  <a:cubicBezTo>
                    <a:pt x="248" y="1635"/>
                    <a:pt x="193" y="1580"/>
                    <a:pt x="124" y="1580"/>
                  </a:cubicBezTo>
                  <a:cubicBezTo>
                    <a:pt x="56" y="1580"/>
                    <a:pt x="0" y="1635"/>
                    <a:pt x="0" y="1704"/>
                  </a:cubicBezTo>
                  <a:cubicBezTo>
                    <a:pt x="0" y="1772"/>
                    <a:pt x="56" y="1828"/>
                    <a:pt x="124" y="1828"/>
                  </a:cubicBezTo>
                  <a:cubicBezTo>
                    <a:pt x="193" y="1828"/>
                    <a:pt x="248" y="1772"/>
                    <a:pt x="248" y="1704"/>
                  </a:cubicBezTo>
                  <a:close/>
                  <a:moveTo>
                    <a:pt x="563" y="1704"/>
                  </a:moveTo>
                  <a:cubicBezTo>
                    <a:pt x="563" y="1635"/>
                    <a:pt x="507" y="1580"/>
                    <a:pt x="439" y="1580"/>
                  </a:cubicBezTo>
                  <a:cubicBezTo>
                    <a:pt x="370" y="1580"/>
                    <a:pt x="315" y="1635"/>
                    <a:pt x="315" y="1704"/>
                  </a:cubicBezTo>
                  <a:cubicBezTo>
                    <a:pt x="315" y="1772"/>
                    <a:pt x="370" y="1828"/>
                    <a:pt x="439" y="1828"/>
                  </a:cubicBezTo>
                  <a:cubicBezTo>
                    <a:pt x="507" y="1828"/>
                    <a:pt x="563" y="1772"/>
                    <a:pt x="563" y="1704"/>
                  </a:cubicBezTo>
                  <a:close/>
                  <a:moveTo>
                    <a:pt x="468" y="1200"/>
                  </a:moveTo>
                  <a:cubicBezTo>
                    <a:pt x="468" y="871"/>
                    <a:pt x="468" y="871"/>
                    <a:pt x="468" y="871"/>
                  </a:cubicBezTo>
                  <a:cubicBezTo>
                    <a:pt x="468" y="859"/>
                    <a:pt x="458" y="849"/>
                    <a:pt x="446" y="849"/>
                  </a:cubicBezTo>
                  <a:cubicBezTo>
                    <a:pt x="117" y="849"/>
                    <a:pt x="117" y="849"/>
                    <a:pt x="117" y="849"/>
                  </a:cubicBezTo>
                  <a:cubicBezTo>
                    <a:pt x="105" y="849"/>
                    <a:pt x="95" y="859"/>
                    <a:pt x="95" y="871"/>
                  </a:cubicBezTo>
                  <a:cubicBezTo>
                    <a:pt x="95" y="1200"/>
                    <a:pt x="95" y="1200"/>
                    <a:pt x="95" y="1200"/>
                  </a:cubicBezTo>
                  <a:cubicBezTo>
                    <a:pt x="95" y="1212"/>
                    <a:pt x="105" y="1222"/>
                    <a:pt x="117" y="1222"/>
                  </a:cubicBezTo>
                  <a:cubicBezTo>
                    <a:pt x="446" y="1222"/>
                    <a:pt x="446" y="1222"/>
                    <a:pt x="446" y="1222"/>
                  </a:cubicBezTo>
                  <a:cubicBezTo>
                    <a:pt x="458" y="1222"/>
                    <a:pt x="468" y="1212"/>
                    <a:pt x="468" y="1200"/>
                  </a:cubicBezTo>
                  <a:close/>
                  <a:moveTo>
                    <a:pt x="1101" y="1200"/>
                  </a:moveTo>
                  <a:cubicBezTo>
                    <a:pt x="1101" y="871"/>
                    <a:pt x="1101" y="871"/>
                    <a:pt x="1101" y="871"/>
                  </a:cubicBezTo>
                  <a:cubicBezTo>
                    <a:pt x="1101" y="859"/>
                    <a:pt x="1091" y="849"/>
                    <a:pt x="1079" y="849"/>
                  </a:cubicBezTo>
                  <a:cubicBezTo>
                    <a:pt x="749" y="849"/>
                    <a:pt x="749" y="849"/>
                    <a:pt x="749" y="849"/>
                  </a:cubicBezTo>
                  <a:cubicBezTo>
                    <a:pt x="737" y="849"/>
                    <a:pt x="727" y="859"/>
                    <a:pt x="727" y="871"/>
                  </a:cubicBezTo>
                  <a:cubicBezTo>
                    <a:pt x="727" y="1200"/>
                    <a:pt x="727" y="1200"/>
                    <a:pt x="727" y="1200"/>
                  </a:cubicBezTo>
                  <a:cubicBezTo>
                    <a:pt x="727" y="1212"/>
                    <a:pt x="737" y="1222"/>
                    <a:pt x="749" y="1222"/>
                  </a:cubicBezTo>
                  <a:cubicBezTo>
                    <a:pt x="1079" y="1222"/>
                    <a:pt x="1079" y="1222"/>
                    <a:pt x="1079" y="1222"/>
                  </a:cubicBezTo>
                  <a:cubicBezTo>
                    <a:pt x="1091" y="1222"/>
                    <a:pt x="1101" y="1212"/>
                    <a:pt x="1101" y="1200"/>
                  </a:cubicBezTo>
                  <a:close/>
                  <a:moveTo>
                    <a:pt x="1733" y="1200"/>
                  </a:moveTo>
                  <a:cubicBezTo>
                    <a:pt x="1733" y="871"/>
                    <a:pt x="1733" y="871"/>
                    <a:pt x="1733" y="871"/>
                  </a:cubicBezTo>
                  <a:cubicBezTo>
                    <a:pt x="1733" y="859"/>
                    <a:pt x="1723" y="849"/>
                    <a:pt x="1711" y="849"/>
                  </a:cubicBezTo>
                  <a:cubicBezTo>
                    <a:pt x="1382" y="849"/>
                    <a:pt x="1382" y="849"/>
                    <a:pt x="1382" y="849"/>
                  </a:cubicBezTo>
                  <a:cubicBezTo>
                    <a:pt x="1370" y="849"/>
                    <a:pt x="1360" y="859"/>
                    <a:pt x="1360" y="871"/>
                  </a:cubicBezTo>
                  <a:cubicBezTo>
                    <a:pt x="1360" y="1200"/>
                    <a:pt x="1360" y="1200"/>
                    <a:pt x="1360" y="1200"/>
                  </a:cubicBezTo>
                  <a:cubicBezTo>
                    <a:pt x="1360" y="1212"/>
                    <a:pt x="1370" y="1222"/>
                    <a:pt x="1382" y="1222"/>
                  </a:cubicBezTo>
                  <a:cubicBezTo>
                    <a:pt x="1711" y="1222"/>
                    <a:pt x="1711" y="1222"/>
                    <a:pt x="1711" y="1222"/>
                  </a:cubicBezTo>
                  <a:cubicBezTo>
                    <a:pt x="1723" y="1222"/>
                    <a:pt x="1733" y="1212"/>
                    <a:pt x="1733" y="12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a:extLst>
                <a:ext uri="{FF2B5EF4-FFF2-40B4-BE49-F238E27FC236}">
                  <a16:creationId xmlns:a16="http://schemas.microsoft.com/office/drawing/2014/main" xmlns="" id="{8A79B397-1A17-4C6E-907C-ACCE065809FA}"/>
                </a:ext>
              </a:extLst>
            </p:cNvPr>
            <p:cNvSpPr>
              <a:spLocks noEditPoints="1"/>
            </p:cNvSpPr>
            <p:nvPr/>
          </p:nvSpPr>
          <p:spPr bwMode="auto">
            <a:xfrm>
              <a:off x="2317" y="1448"/>
              <a:ext cx="3042" cy="1880"/>
            </a:xfrm>
            <a:custGeom>
              <a:avLst/>
              <a:gdLst>
                <a:gd name="T0" fmla="*/ 359 w 1624"/>
                <a:gd name="T1" fmla="*/ 1003 h 1003"/>
                <a:gd name="T2" fmla="*/ 315 w 1624"/>
                <a:gd name="T3" fmla="*/ 1003 h 1003"/>
                <a:gd name="T4" fmla="*/ 44 w 1624"/>
                <a:gd name="T5" fmla="*/ 889 h 1003"/>
                <a:gd name="T6" fmla="*/ 22 w 1624"/>
                <a:gd name="T7" fmla="*/ 1002 h 1003"/>
                <a:gd name="T8" fmla="*/ 0 w 1624"/>
                <a:gd name="T9" fmla="*/ 867 h 1003"/>
                <a:gd name="T10" fmla="*/ 157 w 1624"/>
                <a:gd name="T11" fmla="*/ 845 h 1003"/>
                <a:gd name="T12" fmla="*/ 201 w 1624"/>
                <a:gd name="T13" fmla="*/ 732 h 1003"/>
                <a:gd name="T14" fmla="*/ 337 w 1624"/>
                <a:gd name="T15" fmla="*/ 845 h 1003"/>
                <a:gd name="T16" fmla="*/ 969 w 1624"/>
                <a:gd name="T17" fmla="*/ 845 h 1003"/>
                <a:gd name="T18" fmla="*/ 834 w 1624"/>
                <a:gd name="T19" fmla="*/ 732 h 1003"/>
                <a:gd name="T20" fmla="*/ 790 w 1624"/>
                <a:gd name="T21" fmla="*/ 845 h 1003"/>
                <a:gd name="T22" fmla="*/ 633 w 1624"/>
                <a:gd name="T23" fmla="*/ 867 h 1003"/>
                <a:gd name="T24" fmla="*/ 655 w 1624"/>
                <a:gd name="T25" fmla="*/ 1002 h 1003"/>
                <a:gd name="T26" fmla="*/ 677 w 1624"/>
                <a:gd name="T27" fmla="*/ 889 h 1003"/>
                <a:gd name="T28" fmla="*/ 947 w 1624"/>
                <a:gd name="T29" fmla="*/ 1003 h 1003"/>
                <a:gd name="T30" fmla="*/ 991 w 1624"/>
                <a:gd name="T31" fmla="*/ 1003 h 1003"/>
                <a:gd name="T32" fmla="*/ 969 w 1624"/>
                <a:gd name="T33" fmla="*/ 845 h 1003"/>
                <a:gd name="T34" fmla="*/ 1467 w 1624"/>
                <a:gd name="T35" fmla="*/ 845 h 1003"/>
                <a:gd name="T36" fmla="*/ 1423 w 1624"/>
                <a:gd name="T37" fmla="*/ 732 h 1003"/>
                <a:gd name="T38" fmla="*/ 1287 w 1624"/>
                <a:gd name="T39" fmla="*/ 845 h 1003"/>
                <a:gd name="T40" fmla="*/ 1265 w 1624"/>
                <a:gd name="T41" fmla="*/ 1003 h 1003"/>
                <a:gd name="T42" fmla="*/ 1309 w 1624"/>
                <a:gd name="T43" fmla="*/ 1003 h 1003"/>
                <a:gd name="T44" fmla="*/ 1580 w 1624"/>
                <a:gd name="T45" fmla="*/ 889 h 1003"/>
                <a:gd name="T46" fmla="*/ 1602 w 1624"/>
                <a:gd name="T47" fmla="*/ 1002 h 1003"/>
                <a:gd name="T48" fmla="*/ 1624 w 1624"/>
                <a:gd name="T49" fmla="*/ 867 h 1003"/>
                <a:gd name="T50" fmla="*/ 1445 w 1624"/>
                <a:gd name="T51" fmla="*/ 114 h 1003"/>
                <a:gd name="T52" fmla="*/ 834 w 1624"/>
                <a:gd name="T53" fmla="*/ 0 h 1003"/>
                <a:gd name="T54" fmla="*/ 790 w 1624"/>
                <a:gd name="T55" fmla="*/ 0 h 1003"/>
                <a:gd name="T56" fmla="*/ 179 w 1624"/>
                <a:gd name="T57" fmla="*/ 114 h 1003"/>
                <a:gd name="T58" fmla="*/ 157 w 1624"/>
                <a:gd name="T59" fmla="*/ 271 h 1003"/>
                <a:gd name="T60" fmla="*/ 201 w 1624"/>
                <a:gd name="T61" fmla="*/ 158 h 1003"/>
                <a:gd name="T62" fmla="*/ 790 w 1624"/>
                <a:gd name="T63" fmla="*/ 271 h 1003"/>
                <a:gd name="T64" fmla="*/ 834 w 1624"/>
                <a:gd name="T65" fmla="*/ 158 h 1003"/>
                <a:gd name="T66" fmla="*/ 1423 w 1624"/>
                <a:gd name="T67" fmla="*/ 271 h 1003"/>
                <a:gd name="T68" fmla="*/ 1467 w 1624"/>
                <a:gd name="T69" fmla="*/ 13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4" h="1003">
                  <a:moveTo>
                    <a:pt x="359" y="867"/>
                  </a:moveTo>
                  <a:cubicBezTo>
                    <a:pt x="359" y="1003"/>
                    <a:pt x="359" y="1003"/>
                    <a:pt x="359" y="1003"/>
                  </a:cubicBezTo>
                  <a:cubicBezTo>
                    <a:pt x="352" y="1002"/>
                    <a:pt x="344" y="1002"/>
                    <a:pt x="337" y="1002"/>
                  </a:cubicBezTo>
                  <a:cubicBezTo>
                    <a:pt x="329" y="1002"/>
                    <a:pt x="322" y="1002"/>
                    <a:pt x="315" y="1003"/>
                  </a:cubicBezTo>
                  <a:cubicBezTo>
                    <a:pt x="315" y="889"/>
                    <a:pt x="315" y="889"/>
                    <a:pt x="315" y="889"/>
                  </a:cubicBezTo>
                  <a:cubicBezTo>
                    <a:pt x="44" y="889"/>
                    <a:pt x="44" y="889"/>
                    <a:pt x="44" y="889"/>
                  </a:cubicBezTo>
                  <a:cubicBezTo>
                    <a:pt x="44" y="1003"/>
                    <a:pt x="44" y="1003"/>
                    <a:pt x="44" y="1003"/>
                  </a:cubicBezTo>
                  <a:cubicBezTo>
                    <a:pt x="37" y="1002"/>
                    <a:pt x="30" y="1002"/>
                    <a:pt x="22" y="1002"/>
                  </a:cubicBezTo>
                  <a:cubicBezTo>
                    <a:pt x="15" y="1002"/>
                    <a:pt x="7" y="1002"/>
                    <a:pt x="0" y="1003"/>
                  </a:cubicBezTo>
                  <a:cubicBezTo>
                    <a:pt x="0" y="867"/>
                    <a:pt x="0" y="867"/>
                    <a:pt x="0" y="867"/>
                  </a:cubicBezTo>
                  <a:cubicBezTo>
                    <a:pt x="0" y="855"/>
                    <a:pt x="10" y="845"/>
                    <a:pt x="22" y="845"/>
                  </a:cubicBezTo>
                  <a:cubicBezTo>
                    <a:pt x="157" y="845"/>
                    <a:pt x="157" y="845"/>
                    <a:pt x="157" y="845"/>
                  </a:cubicBezTo>
                  <a:cubicBezTo>
                    <a:pt x="157" y="732"/>
                    <a:pt x="157" y="732"/>
                    <a:pt x="157" y="732"/>
                  </a:cubicBezTo>
                  <a:cubicBezTo>
                    <a:pt x="201" y="732"/>
                    <a:pt x="201" y="732"/>
                    <a:pt x="201" y="732"/>
                  </a:cubicBezTo>
                  <a:cubicBezTo>
                    <a:pt x="201" y="845"/>
                    <a:pt x="201" y="845"/>
                    <a:pt x="201" y="845"/>
                  </a:cubicBezTo>
                  <a:cubicBezTo>
                    <a:pt x="337" y="845"/>
                    <a:pt x="337" y="845"/>
                    <a:pt x="337" y="845"/>
                  </a:cubicBezTo>
                  <a:cubicBezTo>
                    <a:pt x="349" y="845"/>
                    <a:pt x="359" y="855"/>
                    <a:pt x="359" y="867"/>
                  </a:cubicBezTo>
                  <a:close/>
                  <a:moveTo>
                    <a:pt x="969" y="845"/>
                  </a:moveTo>
                  <a:cubicBezTo>
                    <a:pt x="834" y="845"/>
                    <a:pt x="834" y="845"/>
                    <a:pt x="834" y="845"/>
                  </a:cubicBezTo>
                  <a:cubicBezTo>
                    <a:pt x="834" y="732"/>
                    <a:pt x="834" y="732"/>
                    <a:pt x="834" y="732"/>
                  </a:cubicBezTo>
                  <a:cubicBezTo>
                    <a:pt x="790" y="732"/>
                    <a:pt x="790" y="732"/>
                    <a:pt x="790" y="732"/>
                  </a:cubicBezTo>
                  <a:cubicBezTo>
                    <a:pt x="790" y="845"/>
                    <a:pt x="790" y="845"/>
                    <a:pt x="790" y="845"/>
                  </a:cubicBezTo>
                  <a:cubicBezTo>
                    <a:pt x="655" y="845"/>
                    <a:pt x="655" y="845"/>
                    <a:pt x="655" y="845"/>
                  </a:cubicBezTo>
                  <a:cubicBezTo>
                    <a:pt x="643" y="845"/>
                    <a:pt x="633" y="855"/>
                    <a:pt x="633" y="867"/>
                  </a:cubicBezTo>
                  <a:cubicBezTo>
                    <a:pt x="633" y="1003"/>
                    <a:pt x="633" y="1003"/>
                    <a:pt x="633" y="1003"/>
                  </a:cubicBezTo>
                  <a:cubicBezTo>
                    <a:pt x="640" y="1002"/>
                    <a:pt x="647" y="1002"/>
                    <a:pt x="655" y="1002"/>
                  </a:cubicBezTo>
                  <a:cubicBezTo>
                    <a:pt x="662" y="1002"/>
                    <a:pt x="669" y="1002"/>
                    <a:pt x="677" y="1003"/>
                  </a:cubicBezTo>
                  <a:cubicBezTo>
                    <a:pt x="677" y="889"/>
                    <a:pt x="677" y="889"/>
                    <a:pt x="677" y="889"/>
                  </a:cubicBezTo>
                  <a:cubicBezTo>
                    <a:pt x="947" y="889"/>
                    <a:pt x="947" y="889"/>
                    <a:pt x="947" y="889"/>
                  </a:cubicBezTo>
                  <a:cubicBezTo>
                    <a:pt x="947" y="1003"/>
                    <a:pt x="947" y="1003"/>
                    <a:pt x="947" y="1003"/>
                  </a:cubicBezTo>
                  <a:cubicBezTo>
                    <a:pt x="955" y="1002"/>
                    <a:pt x="962" y="1002"/>
                    <a:pt x="969" y="1002"/>
                  </a:cubicBezTo>
                  <a:cubicBezTo>
                    <a:pt x="977" y="1002"/>
                    <a:pt x="984" y="1002"/>
                    <a:pt x="991" y="1003"/>
                  </a:cubicBezTo>
                  <a:cubicBezTo>
                    <a:pt x="991" y="867"/>
                    <a:pt x="991" y="867"/>
                    <a:pt x="991" y="867"/>
                  </a:cubicBezTo>
                  <a:cubicBezTo>
                    <a:pt x="991" y="855"/>
                    <a:pt x="981" y="845"/>
                    <a:pt x="969" y="845"/>
                  </a:cubicBezTo>
                  <a:close/>
                  <a:moveTo>
                    <a:pt x="1602" y="845"/>
                  </a:moveTo>
                  <a:cubicBezTo>
                    <a:pt x="1467" y="845"/>
                    <a:pt x="1467" y="845"/>
                    <a:pt x="1467" y="845"/>
                  </a:cubicBezTo>
                  <a:cubicBezTo>
                    <a:pt x="1467" y="732"/>
                    <a:pt x="1467" y="732"/>
                    <a:pt x="1467" y="732"/>
                  </a:cubicBezTo>
                  <a:cubicBezTo>
                    <a:pt x="1423" y="732"/>
                    <a:pt x="1423" y="732"/>
                    <a:pt x="1423" y="732"/>
                  </a:cubicBezTo>
                  <a:cubicBezTo>
                    <a:pt x="1423" y="845"/>
                    <a:pt x="1423" y="845"/>
                    <a:pt x="1423" y="845"/>
                  </a:cubicBezTo>
                  <a:cubicBezTo>
                    <a:pt x="1287" y="845"/>
                    <a:pt x="1287" y="845"/>
                    <a:pt x="1287" y="845"/>
                  </a:cubicBezTo>
                  <a:cubicBezTo>
                    <a:pt x="1275" y="845"/>
                    <a:pt x="1265" y="855"/>
                    <a:pt x="1265" y="867"/>
                  </a:cubicBezTo>
                  <a:cubicBezTo>
                    <a:pt x="1265" y="1003"/>
                    <a:pt x="1265" y="1003"/>
                    <a:pt x="1265" y="1003"/>
                  </a:cubicBezTo>
                  <a:cubicBezTo>
                    <a:pt x="1272" y="1002"/>
                    <a:pt x="1280" y="1002"/>
                    <a:pt x="1287" y="1002"/>
                  </a:cubicBezTo>
                  <a:cubicBezTo>
                    <a:pt x="1295" y="1002"/>
                    <a:pt x="1302" y="1002"/>
                    <a:pt x="1309" y="1003"/>
                  </a:cubicBezTo>
                  <a:cubicBezTo>
                    <a:pt x="1309" y="889"/>
                    <a:pt x="1309" y="889"/>
                    <a:pt x="1309" y="889"/>
                  </a:cubicBezTo>
                  <a:cubicBezTo>
                    <a:pt x="1580" y="889"/>
                    <a:pt x="1580" y="889"/>
                    <a:pt x="1580" y="889"/>
                  </a:cubicBezTo>
                  <a:cubicBezTo>
                    <a:pt x="1580" y="1003"/>
                    <a:pt x="1580" y="1003"/>
                    <a:pt x="1580" y="1003"/>
                  </a:cubicBezTo>
                  <a:cubicBezTo>
                    <a:pt x="1587" y="1002"/>
                    <a:pt x="1594" y="1002"/>
                    <a:pt x="1602" y="1002"/>
                  </a:cubicBezTo>
                  <a:cubicBezTo>
                    <a:pt x="1609" y="1002"/>
                    <a:pt x="1617" y="1002"/>
                    <a:pt x="1624" y="1003"/>
                  </a:cubicBezTo>
                  <a:cubicBezTo>
                    <a:pt x="1624" y="867"/>
                    <a:pt x="1624" y="867"/>
                    <a:pt x="1624" y="867"/>
                  </a:cubicBezTo>
                  <a:cubicBezTo>
                    <a:pt x="1624" y="855"/>
                    <a:pt x="1614" y="845"/>
                    <a:pt x="1602" y="845"/>
                  </a:cubicBezTo>
                  <a:close/>
                  <a:moveTo>
                    <a:pt x="1445" y="114"/>
                  </a:moveTo>
                  <a:cubicBezTo>
                    <a:pt x="834" y="114"/>
                    <a:pt x="834" y="114"/>
                    <a:pt x="834" y="114"/>
                  </a:cubicBezTo>
                  <a:cubicBezTo>
                    <a:pt x="834" y="0"/>
                    <a:pt x="834" y="0"/>
                    <a:pt x="834" y="0"/>
                  </a:cubicBezTo>
                  <a:cubicBezTo>
                    <a:pt x="827" y="1"/>
                    <a:pt x="819" y="1"/>
                    <a:pt x="812" y="1"/>
                  </a:cubicBezTo>
                  <a:cubicBezTo>
                    <a:pt x="805" y="1"/>
                    <a:pt x="797" y="1"/>
                    <a:pt x="790" y="0"/>
                  </a:cubicBezTo>
                  <a:cubicBezTo>
                    <a:pt x="790" y="114"/>
                    <a:pt x="790" y="114"/>
                    <a:pt x="790" y="114"/>
                  </a:cubicBezTo>
                  <a:cubicBezTo>
                    <a:pt x="179" y="114"/>
                    <a:pt x="179" y="114"/>
                    <a:pt x="179" y="114"/>
                  </a:cubicBezTo>
                  <a:cubicBezTo>
                    <a:pt x="167" y="114"/>
                    <a:pt x="157" y="124"/>
                    <a:pt x="157" y="136"/>
                  </a:cubicBezTo>
                  <a:cubicBezTo>
                    <a:pt x="157" y="271"/>
                    <a:pt x="157" y="271"/>
                    <a:pt x="157" y="271"/>
                  </a:cubicBezTo>
                  <a:cubicBezTo>
                    <a:pt x="201" y="271"/>
                    <a:pt x="201" y="271"/>
                    <a:pt x="201" y="271"/>
                  </a:cubicBezTo>
                  <a:cubicBezTo>
                    <a:pt x="201" y="158"/>
                    <a:pt x="201" y="158"/>
                    <a:pt x="201" y="158"/>
                  </a:cubicBezTo>
                  <a:cubicBezTo>
                    <a:pt x="790" y="158"/>
                    <a:pt x="790" y="158"/>
                    <a:pt x="790" y="158"/>
                  </a:cubicBezTo>
                  <a:cubicBezTo>
                    <a:pt x="790" y="271"/>
                    <a:pt x="790" y="271"/>
                    <a:pt x="790" y="271"/>
                  </a:cubicBezTo>
                  <a:cubicBezTo>
                    <a:pt x="834" y="271"/>
                    <a:pt x="834" y="271"/>
                    <a:pt x="834" y="271"/>
                  </a:cubicBezTo>
                  <a:cubicBezTo>
                    <a:pt x="834" y="158"/>
                    <a:pt x="834" y="158"/>
                    <a:pt x="834" y="158"/>
                  </a:cubicBezTo>
                  <a:cubicBezTo>
                    <a:pt x="1423" y="158"/>
                    <a:pt x="1423" y="158"/>
                    <a:pt x="1423" y="158"/>
                  </a:cubicBezTo>
                  <a:cubicBezTo>
                    <a:pt x="1423" y="271"/>
                    <a:pt x="1423" y="271"/>
                    <a:pt x="1423" y="271"/>
                  </a:cubicBezTo>
                  <a:cubicBezTo>
                    <a:pt x="1467" y="271"/>
                    <a:pt x="1467" y="271"/>
                    <a:pt x="1467" y="271"/>
                  </a:cubicBezTo>
                  <a:cubicBezTo>
                    <a:pt x="1467" y="136"/>
                    <a:pt x="1467" y="136"/>
                    <a:pt x="1467" y="136"/>
                  </a:cubicBezTo>
                  <a:cubicBezTo>
                    <a:pt x="1467" y="124"/>
                    <a:pt x="1457" y="114"/>
                    <a:pt x="1445" y="1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60"/>
          <p:cNvGrpSpPr/>
          <p:nvPr/>
        </p:nvGrpSpPr>
        <p:grpSpPr>
          <a:xfrm>
            <a:off x="1037421" y="4559921"/>
            <a:ext cx="845769" cy="845769"/>
            <a:chOff x="704935" y="4637498"/>
            <a:chExt cx="845769" cy="845769"/>
          </a:xfrm>
        </p:grpSpPr>
        <p:sp>
          <p:nvSpPr>
            <p:cNvPr id="57" name="Oval 56"/>
            <p:cNvSpPr/>
            <p:nvPr/>
          </p:nvSpPr>
          <p:spPr>
            <a:xfrm>
              <a:off x="704935" y="4637498"/>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28" name="Group 27"/>
            <p:cNvGrpSpPr>
              <a:grpSpLocks noChangeAspect="1"/>
            </p:cNvGrpSpPr>
            <p:nvPr/>
          </p:nvGrpSpPr>
          <p:grpSpPr>
            <a:xfrm>
              <a:off x="742027" y="4668770"/>
              <a:ext cx="762161" cy="762161"/>
              <a:chOff x="5273040" y="2606040"/>
              <a:chExt cx="1645920" cy="1645920"/>
            </a:xfrm>
          </p:grpSpPr>
          <p:sp>
            <p:nvSpPr>
              <p:cNvPr id="29"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p:cNvGrpSpPr/>
              <p:nvPr/>
            </p:nvGrpSpPr>
            <p:grpSpPr>
              <a:xfrm>
                <a:off x="5546027" y="2892361"/>
                <a:ext cx="1099947" cy="1073277"/>
                <a:chOff x="5546027" y="2892361"/>
                <a:chExt cx="1099947" cy="1073277"/>
              </a:xfrm>
            </p:grpSpPr>
            <p:sp>
              <p:nvSpPr>
                <p:cNvPr id="31" name="Freeform 30"/>
                <p:cNvSpPr>
                  <a:spLocks/>
                </p:cNvSpPr>
                <p:nvPr/>
              </p:nvSpPr>
              <p:spPr bwMode="auto">
                <a:xfrm>
                  <a:off x="5546027" y="2892361"/>
                  <a:ext cx="1099947" cy="1073277"/>
                </a:xfrm>
                <a:custGeom>
                  <a:avLst/>
                  <a:gdLst>
                    <a:gd name="connsiteX0" fmla="*/ 548831 w 1099947"/>
                    <a:gd name="connsiteY0" fmla="*/ 587502 h 1073277"/>
                    <a:gd name="connsiteX1" fmla="*/ 321945 w 1099947"/>
                    <a:gd name="connsiteY1" fmla="*/ 814578 h 1073277"/>
                    <a:gd name="connsiteX2" fmla="*/ 548831 w 1099947"/>
                    <a:gd name="connsiteY2" fmla="*/ 1041654 h 1073277"/>
                    <a:gd name="connsiteX3" fmla="*/ 775716 w 1099947"/>
                    <a:gd name="connsiteY3" fmla="*/ 814578 h 1073277"/>
                    <a:gd name="connsiteX4" fmla="*/ 548831 w 1099947"/>
                    <a:gd name="connsiteY4" fmla="*/ 587502 h 1073277"/>
                    <a:gd name="connsiteX5" fmla="*/ 173614 w 1099947"/>
                    <a:gd name="connsiteY5" fmla="*/ 184404 h 1073277"/>
                    <a:gd name="connsiteX6" fmla="*/ 183616 w 1099947"/>
                    <a:gd name="connsiteY6" fmla="*/ 187977 h 1073277"/>
                    <a:gd name="connsiteX7" fmla="*/ 254348 w 1099947"/>
                    <a:gd name="connsiteY7" fmla="*/ 246568 h 1073277"/>
                    <a:gd name="connsiteX8" fmla="*/ 255062 w 1099947"/>
                    <a:gd name="connsiteY8" fmla="*/ 247283 h 1073277"/>
                    <a:gd name="connsiteX9" fmla="*/ 255777 w 1099947"/>
                    <a:gd name="connsiteY9" fmla="*/ 247283 h 1073277"/>
                    <a:gd name="connsiteX10" fmla="*/ 256491 w 1099947"/>
                    <a:gd name="connsiteY10" fmla="*/ 248712 h 1073277"/>
                    <a:gd name="connsiteX11" fmla="*/ 258635 w 1099947"/>
                    <a:gd name="connsiteY11" fmla="*/ 251570 h 1073277"/>
                    <a:gd name="connsiteX12" fmla="*/ 259349 w 1099947"/>
                    <a:gd name="connsiteY12" fmla="*/ 253713 h 1073277"/>
                    <a:gd name="connsiteX13" fmla="*/ 259349 w 1099947"/>
                    <a:gd name="connsiteY13" fmla="*/ 255142 h 1073277"/>
                    <a:gd name="connsiteX14" fmla="*/ 259349 w 1099947"/>
                    <a:gd name="connsiteY14" fmla="*/ 260859 h 1073277"/>
                    <a:gd name="connsiteX15" fmla="*/ 259349 w 1099947"/>
                    <a:gd name="connsiteY15" fmla="*/ 261573 h 1073277"/>
                    <a:gd name="connsiteX16" fmla="*/ 259349 w 1099947"/>
                    <a:gd name="connsiteY16" fmla="*/ 262288 h 1073277"/>
                    <a:gd name="connsiteX17" fmla="*/ 259349 w 1099947"/>
                    <a:gd name="connsiteY17" fmla="*/ 263717 h 1073277"/>
                    <a:gd name="connsiteX18" fmla="*/ 258635 w 1099947"/>
                    <a:gd name="connsiteY18" fmla="*/ 265146 h 1073277"/>
                    <a:gd name="connsiteX19" fmla="*/ 257920 w 1099947"/>
                    <a:gd name="connsiteY19" fmla="*/ 265860 h 1073277"/>
                    <a:gd name="connsiteX20" fmla="*/ 256491 w 1099947"/>
                    <a:gd name="connsiteY20" fmla="*/ 268004 h 1073277"/>
                    <a:gd name="connsiteX21" fmla="*/ 256491 w 1099947"/>
                    <a:gd name="connsiteY21" fmla="*/ 268719 h 1073277"/>
                    <a:gd name="connsiteX22" fmla="*/ 255777 w 1099947"/>
                    <a:gd name="connsiteY22" fmla="*/ 268719 h 1073277"/>
                    <a:gd name="connsiteX23" fmla="*/ 194333 w 1099947"/>
                    <a:gd name="connsiteY23" fmla="*/ 341600 h 1073277"/>
                    <a:gd name="connsiteX24" fmla="*/ 172185 w 1099947"/>
                    <a:gd name="connsiteY24" fmla="*/ 343744 h 1073277"/>
                    <a:gd name="connsiteX25" fmla="*/ 170042 w 1099947"/>
                    <a:gd name="connsiteY25" fmla="*/ 321594 h 1073277"/>
                    <a:gd name="connsiteX26" fmla="*/ 207193 w 1099947"/>
                    <a:gd name="connsiteY26" fmla="*/ 278007 h 1073277"/>
                    <a:gd name="connsiteX27" fmla="*/ 115743 w 1099947"/>
                    <a:gd name="connsiteY27" fmla="*/ 329453 h 1073277"/>
                    <a:gd name="connsiteX28" fmla="*/ 31436 w 1099947"/>
                    <a:gd name="connsiteY28" fmla="*/ 536666 h 1073277"/>
                    <a:gd name="connsiteX29" fmla="*/ 291500 w 1099947"/>
                    <a:gd name="connsiteY29" fmla="*/ 798184 h 1073277"/>
                    <a:gd name="connsiteX30" fmla="*/ 549419 w 1099947"/>
                    <a:gd name="connsiteY30" fmla="*/ 555959 h 1073277"/>
                    <a:gd name="connsiteX31" fmla="*/ 807339 w 1099947"/>
                    <a:gd name="connsiteY31" fmla="*/ 813903 h 1073277"/>
                    <a:gd name="connsiteX32" fmla="*/ 549419 w 1099947"/>
                    <a:gd name="connsiteY32" fmla="*/ 1073277 h 1073277"/>
                    <a:gd name="connsiteX33" fmla="*/ 291500 w 1099947"/>
                    <a:gd name="connsiteY33" fmla="*/ 829623 h 1073277"/>
                    <a:gd name="connsiteX34" fmla="*/ 0 w 1099947"/>
                    <a:gd name="connsiteY34" fmla="*/ 536666 h 1073277"/>
                    <a:gd name="connsiteX35" fmla="*/ 93594 w 1099947"/>
                    <a:gd name="connsiteY35" fmla="*/ 307303 h 1073277"/>
                    <a:gd name="connsiteX36" fmla="*/ 205764 w 1099947"/>
                    <a:gd name="connsiteY36" fmla="*/ 246568 h 1073277"/>
                    <a:gd name="connsiteX37" fmla="*/ 163612 w 1099947"/>
                    <a:gd name="connsiteY37" fmla="*/ 212271 h 1073277"/>
                    <a:gd name="connsiteX38" fmla="*/ 161468 w 1099947"/>
                    <a:gd name="connsiteY38" fmla="*/ 190120 h 1073277"/>
                    <a:gd name="connsiteX39" fmla="*/ 173614 w 1099947"/>
                    <a:gd name="connsiteY39" fmla="*/ 184404 h 1073277"/>
                    <a:gd name="connsiteX40" fmla="*/ 549212 w 1099947"/>
                    <a:gd name="connsiteY40" fmla="*/ 31623 h 1073277"/>
                    <a:gd name="connsiteX41" fmla="*/ 321945 w 1099947"/>
                    <a:gd name="connsiteY41" fmla="*/ 258699 h 1073277"/>
                    <a:gd name="connsiteX42" fmla="*/ 549212 w 1099947"/>
                    <a:gd name="connsiteY42" fmla="*/ 485775 h 1073277"/>
                    <a:gd name="connsiteX43" fmla="*/ 776478 w 1099947"/>
                    <a:gd name="connsiteY43" fmla="*/ 258699 h 1073277"/>
                    <a:gd name="connsiteX44" fmla="*/ 549212 w 1099947"/>
                    <a:gd name="connsiteY44" fmla="*/ 31623 h 1073277"/>
                    <a:gd name="connsiteX45" fmla="*/ 549261 w 1099947"/>
                    <a:gd name="connsiteY45" fmla="*/ 0 h 1073277"/>
                    <a:gd name="connsiteX46" fmla="*/ 807819 w 1099947"/>
                    <a:gd name="connsiteY46" fmla="*/ 242940 h 1073277"/>
                    <a:gd name="connsiteX47" fmla="*/ 1099947 w 1099947"/>
                    <a:gd name="connsiteY47" fmla="*/ 536611 h 1073277"/>
                    <a:gd name="connsiteX48" fmla="*/ 1005666 w 1099947"/>
                    <a:gd name="connsiteY48" fmla="*/ 765260 h 1073277"/>
                    <a:gd name="connsiteX49" fmla="*/ 893529 w 1099947"/>
                    <a:gd name="connsiteY49" fmla="*/ 825995 h 1073277"/>
                    <a:gd name="connsiteX50" fmla="*/ 935670 w 1099947"/>
                    <a:gd name="connsiteY50" fmla="*/ 860292 h 1073277"/>
                    <a:gd name="connsiteX51" fmla="*/ 937813 w 1099947"/>
                    <a:gd name="connsiteY51" fmla="*/ 883157 h 1073277"/>
                    <a:gd name="connsiteX52" fmla="*/ 925670 w 1099947"/>
                    <a:gd name="connsiteY52" fmla="*/ 888873 h 1073277"/>
                    <a:gd name="connsiteX53" fmla="*/ 915671 w 1099947"/>
                    <a:gd name="connsiteY53" fmla="*/ 885301 h 1073277"/>
                    <a:gd name="connsiteX54" fmla="*/ 844960 w 1099947"/>
                    <a:gd name="connsiteY54" fmla="*/ 825995 h 1073277"/>
                    <a:gd name="connsiteX55" fmla="*/ 843532 w 1099947"/>
                    <a:gd name="connsiteY55" fmla="*/ 825280 h 1073277"/>
                    <a:gd name="connsiteX56" fmla="*/ 842103 w 1099947"/>
                    <a:gd name="connsiteY56" fmla="*/ 823851 h 1073277"/>
                    <a:gd name="connsiteX57" fmla="*/ 840675 w 1099947"/>
                    <a:gd name="connsiteY57" fmla="*/ 820993 h 1073277"/>
                    <a:gd name="connsiteX58" fmla="*/ 839961 w 1099947"/>
                    <a:gd name="connsiteY58" fmla="*/ 818849 h 1073277"/>
                    <a:gd name="connsiteX59" fmla="*/ 839246 w 1099947"/>
                    <a:gd name="connsiteY59" fmla="*/ 817420 h 1073277"/>
                    <a:gd name="connsiteX60" fmla="*/ 839246 w 1099947"/>
                    <a:gd name="connsiteY60" fmla="*/ 811704 h 1073277"/>
                    <a:gd name="connsiteX61" fmla="*/ 839246 w 1099947"/>
                    <a:gd name="connsiteY61" fmla="*/ 810990 h 1073277"/>
                    <a:gd name="connsiteX62" fmla="*/ 839246 w 1099947"/>
                    <a:gd name="connsiteY62" fmla="*/ 810275 h 1073277"/>
                    <a:gd name="connsiteX63" fmla="*/ 839961 w 1099947"/>
                    <a:gd name="connsiteY63" fmla="*/ 808846 h 1073277"/>
                    <a:gd name="connsiteX64" fmla="*/ 840675 w 1099947"/>
                    <a:gd name="connsiteY64" fmla="*/ 807417 h 1073277"/>
                    <a:gd name="connsiteX65" fmla="*/ 840675 w 1099947"/>
                    <a:gd name="connsiteY65" fmla="*/ 806702 h 1073277"/>
                    <a:gd name="connsiteX66" fmla="*/ 842818 w 1099947"/>
                    <a:gd name="connsiteY66" fmla="*/ 804559 h 1073277"/>
                    <a:gd name="connsiteX67" fmla="*/ 842818 w 1099947"/>
                    <a:gd name="connsiteY67" fmla="*/ 803844 h 1073277"/>
                    <a:gd name="connsiteX68" fmla="*/ 905672 w 1099947"/>
                    <a:gd name="connsiteY68" fmla="*/ 730963 h 1073277"/>
                    <a:gd name="connsiteX69" fmla="*/ 927813 w 1099947"/>
                    <a:gd name="connsiteY69" fmla="*/ 728819 h 1073277"/>
                    <a:gd name="connsiteX70" fmla="*/ 929242 w 1099947"/>
                    <a:gd name="connsiteY70" fmla="*/ 750969 h 1073277"/>
                    <a:gd name="connsiteX71" fmla="*/ 892101 w 1099947"/>
                    <a:gd name="connsiteY71" fmla="*/ 794556 h 1073277"/>
                    <a:gd name="connsiteX72" fmla="*/ 983525 w 1099947"/>
                    <a:gd name="connsiteY72" fmla="*/ 743109 h 1073277"/>
                    <a:gd name="connsiteX73" fmla="*/ 1068520 w 1099947"/>
                    <a:gd name="connsiteY73" fmla="*/ 536611 h 1073277"/>
                    <a:gd name="connsiteX74" fmla="*/ 807819 w 1099947"/>
                    <a:gd name="connsiteY74" fmla="*/ 274379 h 1073277"/>
                    <a:gd name="connsiteX75" fmla="*/ 549261 w 1099947"/>
                    <a:gd name="connsiteY75" fmla="*/ 517319 h 1073277"/>
                    <a:gd name="connsiteX76" fmla="*/ 290703 w 1099947"/>
                    <a:gd name="connsiteY76" fmla="*/ 258659 h 1073277"/>
                    <a:gd name="connsiteX77" fmla="*/ 549261 w 1099947"/>
                    <a:gd name="connsiteY77" fmla="*/ 0 h 107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99947" h="1073277">
                      <a:moveTo>
                        <a:pt x="548831" y="587502"/>
                      </a:moveTo>
                      <a:cubicBezTo>
                        <a:pt x="423525" y="587502"/>
                        <a:pt x="321945" y="689168"/>
                        <a:pt x="321945" y="814578"/>
                      </a:cubicBezTo>
                      <a:cubicBezTo>
                        <a:pt x="321945" y="939989"/>
                        <a:pt x="423525" y="1041654"/>
                        <a:pt x="548831" y="1041654"/>
                      </a:cubicBezTo>
                      <a:cubicBezTo>
                        <a:pt x="674136" y="1041654"/>
                        <a:pt x="775716" y="939989"/>
                        <a:pt x="775716" y="814578"/>
                      </a:cubicBezTo>
                      <a:cubicBezTo>
                        <a:pt x="775716" y="689168"/>
                        <a:pt x="674136" y="587502"/>
                        <a:pt x="548831" y="587502"/>
                      </a:cubicBezTo>
                      <a:close/>
                      <a:moveTo>
                        <a:pt x="173614" y="184404"/>
                      </a:moveTo>
                      <a:cubicBezTo>
                        <a:pt x="177186" y="184404"/>
                        <a:pt x="180759" y="185833"/>
                        <a:pt x="183616" y="187977"/>
                      </a:cubicBezTo>
                      <a:cubicBezTo>
                        <a:pt x="183616" y="187977"/>
                        <a:pt x="183616" y="187977"/>
                        <a:pt x="254348" y="246568"/>
                      </a:cubicBezTo>
                      <a:cubicBezTo>
                        <a:pt x="254348" y="246568"/>
                        <a:pt x="255062" y="246568"/>
                        <a:pt x="255062" y="247283"/>
                      </a:cubicBezTo>
                      <a:cubicBezTo>
                        <a:pt x="255062" y="247283"/>
                        <a:pt x="255062" y="247283"/>
                        <a:pt x="255777" y="247283"/>
                      </a:cubicBezTo>
                      <a:cubicBezTo>
                        <a:pt x="255777" y="247997"/>
                        <a:pt x="256491" y="248712"/>
                        <a:pt x="256491" y="248712"/>
                      </a:cubicBezTo>
                      <a:cubicBezTo>
                        <a:pt x="257206" y="249426"/>
                        <a:pt x="257920" y="250855"/>
                        <a:pt x="258635" y="251570"/>
                      </a:cubicBezTo>
                      <a:cubicBezTo>
                        <a:pt x="258635" y="252284"/>
                        <a:pt x="258635" y="252999"/>
                        <a:pt x="259349" y="253713"/>
                      </a:cubicBezTo>
                      <a:cubicBezTo>
                        <a:pt x="259349" y="253713"/>
                        <a:pt x="259349" y="254428"/>
                        <a:pt x="259349" y="255142"/>
                      </a:cubicBezTo>
                      <a:cubicBezTo>
                        <a:pt x="260063" y="257286"/>
                        <a:pt x="260063" y="258715"/>
                        <a:pt x="259349" y="260859"/>
                      </a:cubicBezTo>
                      <a:cubicBezTo>
                        <a:pt x="259349" y="261573"/>
                        <a:pt x="259349" y="261573"/>
                        <a:pt x="259349" y="261573"/>
                      </a:cubicBezTo>
                      <a:cubicBezTo>
                        <a:pt x="259349" y="262288"/>
                        <a:pt x="259349" y="262288"/>
                        <a:pt x="259349" y="262288"/>
                      </a:cubicBezTo>
                      <a:cubicBezTo>
                        <a:pt x="259349" y="263002"/>
                        <a:pt x="259349" y="263002"/>
                        <a:pt x="259349" y="263717"/>
                      </a:cubicBezTo>
                      <a:cubicBezTo>
                        <a:pt x="258635" y="263717"/>
                        <a:pt x="258635" y="264431"/>
                        <a:pt x="258635" y="265146"/>
                      </a:cubicBezTo>
                      <a:cubicBezTo>
                        <a:pt x="258635" y="265146"/>
                        <a:pt x="257920" y="265146"/>
                        <a:pt x="257920" y="265860"/>
                      </a:cubicBezTo>
                      <a:cubicBezTo>
                        <a:pt x="257920" y="266575"/>
                        <a:pt x="257206" y="267289"/>
                        <a:pt x="256491" y="268004"/>
                      </a:cubicBezTo>
                      <a:cubicBezTo>
                        <a:pt x="256491" y="268719"/>
                        <a:pt x="256491" y="268719"/>
                        <a:pt x="256491" y="268719"/>
                      </a:cubicBezTo>
                      <a:cubicBezTo>
                        <a:pt x="256491" y="268719"/>
                        <a:pt x="256491" y="268719"/>
                        <a:pt x="255777" y="268719"/>
                      </a:cubicBezTo>
                      <a:cubicBezTo>
                        <a:pt x="255777" y="268719"/>
                        <a:pt x="255777" y="268719"/>
                        <a:pt x="194333" y="341600"/>
                      </a:cubicBezTo>
                      <a:cubicBezTo>
                        <a:pt x="188618" y="348031"/>
                        <a:pt x="178615" y="348746"/>
                        <a:pt x="172185" y="343744"/>
                      </a:cubicBezTo>
                      <a:cubicBezTo>
                        <a:pt x="165040" y="338028"/>
                        <a:pt x="164326" y="328024"/>
                        <a:pt x="170042" y="321594"/>
                      </a:cubicBezTo>
                      <a:cubicBezTo>
                        <a:pt x="170042" y="321594"/>
                        <a:pt x="170042" y="321594"/>
                        <a:pt x="207193" y="278007"/>
                      </a:cubicBezTo>
                      <a:cubicBezTo>
                        <a:pt x="173614" y="285153"/>
                        <a:pt x="142892" y="302301"/>
                        <a:pt x="115743" y="329453"/>
                      </a:cubicBezTo>
                      <a:cubicBezTo>
                        <a:pt x="57157" y="388045"/>
                        <a:pt x="31436" y="475932"/>
                        <a:pt x="31436" y="536666"/>
                      </a:cubicBezTo>
                      <a:cubicBezTo>
                        <a:pt x="31436" y="681001"/>
                        <a:pt x="147893" y="798184"/>
                        <a:pt x="291500" y="798184"/>
                      </a:cubicBezTo>
                      <a:cubicBezTo>
                        <a:pt x="299359" y="663138"/>
                        <a:pt x="412243" y="555959"/>
                        <a:pt x="549419" y="555959"/>
                      </a:cubicBezTo>
                      <a:cubicBezTo>
                        <a:pt x="691597" y="555959"/>
                        <a:pt x="807339" y="671712"/>
                        <a:pt x="807339" y="813903"/>
                      </a:cubicBezTo>
                      <a:cubicBezTo>
                        <a:pt x="807339" y="956809"/>
                        <a:pt x="691597" y="1073277"/>
                        <a:pt x="549419" y="1073277"/>
                      </a:cubicBezTo>
                      <a:cubicBezTo>
                        <a:pt x="412243" y="1073277"/>
                        <a:pt x="299359" y="965383"/>
                        <a:pt x="291500" y="829623"/>
                      </a:cubicBezTo>
                      <a:cubicBezTo>
                        <a:pt x="130746" y="829623"/>
                        <a:pt x="0" y="698150"/>
                        <a:pt x="0" y="536666"/>
                      </a:cubicBezTo>
                      <a:cubicBezTo>
                        <a:pt x="0" y="455210"/>
                        <a:pt x="37152" y="363751"/>
                        <a:pt x="93594" y="307303"/>
                      </a:cubicBezTo>
                      <a:cubicBezTo>
                        <a:pt x="126460" y="275149"/>
                        <a:pt x="164326" y="254428"/>
                        <a:pt x="205764" y="246568"/>
                      </a:cubicBezTo>
                      <a:cubicBezTo>
                        <a:pt x="205764" y="246568"/>
                        <a:pt x="205764" y="246568"/>
                        <a:pt x="163612" y="212271"/>
                      </a:cubicBezTo>
                      <a:cubicBezTo>
                        <a:pt x="157181" y="206554"/>
                        <a:pt x="155753" y="196551"/>
                        <a:pt x="161468" y="190120"/>
                      </a:cubicBezTo>
                      <a:cubicBezTo>
                        <a:pt x="164326" y="186548"/>
                        <a:pt x="169327" y="184404"/>
                        <a:pt x="173614" y="184404"/>
                      </a:cubicBezTo>
                      <a:close/>
                      <a:moveTo>
                        <a:pt x="549212" y="31623"/>
                      </a:moveTo>
                      <a:cubicBezTo>
                        <a:pt x="423696" y="31623"/>
                        <a:pt x="321945" y="133288"/>
                        <a:pt x="321945" y="258699"/>
                      </a:cubicBezTo>
                      <a:cubicBezTo>
                        <a:pt x="321945" y="384110"/>
                        <a:pt x="423696" y="485775"/>
                        <a:pt x="549212" y="485775"/>
                      </a:cubicBezTo>
                      <a:cubicBezTo>
                        <a:pt x="674728" y="485775"/>
                        <a:pt x="776478" y="384110"/>
                        <a:pt x="776478" y="258699"/>
                      </a:cubicBezTo>
                      <a:cubicBezTo>
                        <a:pt x="776478" y="133288"/>
                        <a:pt x="674728" y="31623"/>
                        <a:pt x="549212" y="31623"/>
                      </a:cubicBezTo>
                      <a:close/>
                      <a:moveTo>
                        <a:pt x="549261" y="0"/>
                      </a:moveTo>
                      <a:cubicBezTo>
                        <a:pt x="686397" y="0"/>
                        <a:pt x="799249" y="107179"/>
                        <a:pt x="807819" y="242940"/>
                      </a:cubicBezTo>
                      <a:cubicBezTo>
                        <a:pt x="968525" y="242940"/>
                        <a:pt x="1099947" y="375128"/>
                        <a:pt x="1099947" y="536611"/>
                      </a:cubicBezTo>
                      <a:cubicBezTo>
                        <a:pt x="1099947" y="617353"/>
                        <a:pt x="1062092" y="708812"/>
                        <a:pt x="1005666" y="765260"/>
                      </a:cubicBezTo>
                      <a:cubicBezTo>
                        <a:pt x="973525" y="797413"/>
                        <a:pt x="934956" y="818135"/>
                        <a:pt x="893529" y="825995"/>
                      </a:cubicBezTo>
                      <a:cubicBezTo>
                        <a:pt x="893529" y="825995"/>
                        <a:pt x="893529" y="825995"/>
                        <a:pt x="935670" y="860292"/>
                      </a:cubicBezTo>
                      <a:cubicBezTo>
                        <a:pt x="942812" y="866008"/>
                        <a:pt x="943527" y="876726"/>
                        <a:pt x="937813" y="883157"/>
                      </a:cubicBezTo>
                      <a:cubicBezTo>
                        <a:pt x="934956" y="886730"/>
                        <a:pt x="930670" y="888873"/>
                        <a:pt x="925670" y="888873"/>
                      </a:cubicBezTo>
                      <a:cubicBezTo>
                        <a:pt x="922099" y="888873"/>
                        <a:pt x="918528" y="887444"/>
                        <a:pt x="915671" y="885301"/>
                      </a:cubicBezTo>
                      <a:cubicBezTo>
                        <a:pt x="915671" y="885301"/>
                        <a:pt x="915671" y="885301"/>
                        <a:pt x="844960" y="825995"/>
                      </a:cubicBezTo>
                      <a:cubicBezTo>
                        <a:pt x="844246" y="825995"/>
                        <a:pt x="844246" y="825995"/>
                        <a:pt x="843532" y="825280"/>
                      </a:cubicBezTo>
                      <a:cubicBezTo>
                        <a:pt x="842818" y="824566"/>
                        <a:pt x="842818" y="823851"/>
                        <a:pt x="842103" y="823851"/>
                      </a:cubicBezTo>
                      <a:cubicBezTo>
                        <a:pt x="841389" y="823137"/>
                        <a:pt x="840675" y="821707"/>
                        <a:pt x="840675" y="820993"/>
                      </a:cubicBezTo>
                      <a:cubicBezTo>
                        <a:pt x="839961" y="820279"/>
                        <a:pt x="839961" y="819564"/>
                        <a:pt x="839961" y="818849"/>
                      </a:cubicBezTo>
                      <a:cubicBezTo>
                        <a:pt x="839246" y="818849"/>
                        <a:pt x="839246" y="818135"/>
                        <a:pt x="839246" y="817420"/>
                      </a:cubicBezTo>
                      <a:cubicBezTo>
                        <a:pt x="839246" y="815277"/>
                        <a:pt x="838532" y="813848"/>
                        <a:pt x="839246" y="811704"/>
                      </a:cubicBezTo>
                      <a:cubicBezTo>
                        <a:pt x="839246" y="810990"/>
                        <a:pt x="839246" y="810990"/>
                        <a:pt x="839246" y="810990"/>
                      </a:cubicBezTo>
                      <a:cubicBezTo>
                        <a:pt x="839246" y="810275"/>
                        <a:pt x="839246" y="810275"/>
                        <a:pt x="839246" y="810275"/>
                      </a:cubicBezTo>
                      <a:cubicBezTo>
                        <a:pt x="839961" y="809561"/>
                        <a:pt x="839961" y="809561"/>
                        <a:pt x="839961" y="808846"/>
                      </a:cubicBezTo>
                      <a:cubicBezTo>
                        <a:pt x="839961" y="808846"/>
                        <a:pt x="839961" y="808131"/>
                        <a:pt x="840675" y="807417"/>
                      </a:cubicBezTo>
                      <a:cubicBezTo>
                        <a:pt x="840675" y="807417"/>
                        <a:pt x="840675" y="807417"/>
                        <a:pt x="840675" y="806702"/>
                      </a:cubicBezTo>
                      <a:cubicBezTo>
                        <a:pt x="841389" y="805988"/>
                        <a:pt x="842103" y="805273"/>
                        <a:pt x="842818" y="804559"/>
                      </a:cubicBezTo>
                      <a:cubicBezTo>
                        <a:pt x="842818" y="803844"/>
                        <a:pt x="842818" y="803844"/>
                        <a:pt x="842818" y="803844"/>
                      </a:cubicBezTo>
                      <a:cubicBezTo>
                        <a:pt x="842818" y="803844"/>
                        <a:pt x="842818" y="803844"/>
                        <a:pt x="905672" y="730963"/>
                      </a:cubicBezTo>
                      <a:cubicBezTo>
                        <a:pt x="911385" y="724532"/>
                        <a:pt x="921385" y="723817"/>
                        <a:pt x="927813" y="728819"/>
                      </a:cubicBezTo>
                      <a:cubicBezTo>
                        <a:pt x="934242" y="734535"/>
                        <a:pt x="934956" y="744539"/>
                        <a:pt x="929242" y="750969"/>
                      </a:cubicBezTo>
                      <a:cubicBezTo>
                        <a:pt x="929242" y="750969"/>
                        <a:pt x="929242" y="750969"/>
                        <a:pt x="892101" y="794556"/>
                      </a:cubicBezTo>
                      <a:cubicBezTo>
                        <a:pt x="925670" y="787410"/>
                        <a:pt x="956383" y="770262"/>
                        <a:pt x="983525" y="743109"/>
                      </a:cubicBezTo>
                      <a:cubicBezTo>
                        <a:pt x="1042093" y="684518"/>
                        <a:pt x="1068520" y="597346"/>
                        <a:pt x="1068520" y="536611"/>
                      </a:cubicBezTo>
                      <a:cubicBezTo>
                        <a:pt x="1068520" y="392276"/>
                        <a:pt x="951383" y="274379"/>
                        <a:pt x="807819" y="274379"/>
                      </a:cubicBezTo>
                      <a:cubicBezTo>
                        <a:pt x="799249" y="410139"/>
                        <a:pt x="686397" y="517319"/>
                        <a:pt x="549261" y="517319"/>
                      </a:cubicBezTo>
                      <a:cubicBezTo>
                        <a:pt x="406412" y="517319"/>
                        <a:pt x="290703" y="401565"/>
                        <a:pt x="290703" y="258659"/>
                      </a:cubicBezTo>
                      <a:cubicBezTo>
                        <a:pt x="290703" y="115754"/>
                        <a:pt x="406412" y="0"/>
                        <a:pt x="54926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2" name="Freeform 9"/>
                <p:cNvSpPr>
                  <a:spLocks noEditPoints="1"/>
                </p:cNvSpPr>
                <p:nvPr/>
              </p:nvSpPr>
              <p:spPr bwMode="auto">
                <a:xfrm>
                  <a:off x="5891594" y="2947606"/>
                  <a:ext cx="408813" cy="962787"/>
                </a:xfrm>
                <a:custGeom>
                  <a:avLst/>
                  <a:gdLst>
                    <a:gd name="T0" fmla="*/ 286 w 572"/>
                    <a:gd name="T1" fmla="*/ 777 h 1348"/>
                    <a:gd name="T2" fmla="*/ 572 w 572"/>
                    <a:gd name="T3" fmla="*/ 1062 h 1348"/>
                    <a:gd name="T4" fmla="*/ 286 w 572"/>
                    <a:gd name="T5" fmla="*/ 1348 h 1348"/>
                    <a:gd name="T6" fmla="*/ 0 w 572"/>
                    <a:gd name="T7" fmla="*/ 1062 h 1348"/>
                    <a:gd name="T8" fmla="*/ 286 w 572"/>
                    <a:gd name="T9" fmla="*/ 777 h 1348"/>
                    <a:gd name="T10" fmla="*/ 286 w 572"/>
                    <a:gd name="T11" fmla="*/ 0 h 1348"/>
                    <a:gd name="T12" fmla="*/ 572 w 572"/>
                    <a:gd name="T13" fmla="*/ 286 h 1348"/>
                    <a:gd name="T14" fmla="*/ 286 w 572"/>
                    <a:gd name="T15" fmla="*/ 573 h 1348"/>
                    <a:gd name="T16" fmla="*/ 0 w 572"/>
                    <a:gd name="T17" fmla="*/ 286 h 1348"/>
                    <a:gd name="T18" fmla="*/ 286 w 572"/>
                    <a:gd name="T19" fmla="*/ 0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1348">
                      <a:moveTo>
                        <a:pt x="286" y="777"/>
                      </a:moveTo>
                      <a:cubicBezTo>
                        <a:pt x="444" y="777"/>
                        <a:pt x="572" y="905"/>
                        <a:pt x="572" y="1062"/>
                      </a:cubicBezTo>
                      <a:cubicBezTo>
                        <a:pt x="572" y="1220"/>
                        <a:pt x="444" y="1348"/>
                        <a:pt x="286" y="1348"/>
                      </a:cubicBezTo>
                      <a:cubicBezTo>
                        <a:pt x="128" y="1348"/>
                        <a:pt x="0" y="1220"/>
                        <a:pt x="0" y="1062"/>
                      </a:cubicBezTo>
                      <a:cubicBezTo>
                        <a:pt x="0" y="905"/>
                        <a:pt x="128" y="777"/>
                        <a:pt x="286" y="777"/>
                      </a:cubicBezTo>
                      <a:close/>
                      <a:moveTo>
                        <a:pt x="286" y="0"/>
                      </a:moveTo>
                      <a:cubicBezTo>
                        <a:pt x="444" y="0"/>
                        <a:pt x="572" y="128"/>
                        <a:pt x="572" y="286"/>
                      </a:cubicBezTo>
                      <a:cubicBezTo>
                        <a:pt x="572" y="444"/>
                        <a:pt x="444" y="573"/>
                        <a:pt x="286" y="573"/>
                      </a:cubicBezTo>
                      <a:cubicBezTo>
                        <a:pt x="128" y="573"/>
                        <a:pt x="0" y="444"/>
                        <a:pt x="0" y="286"/>
                      </a:cubicBezTo>
                      <a:cubicBezTo>
                        <a:pt x="0" y="128"/>
                        <a:pt x="128" y="0"/>
                        <a:pt x="28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59" name="Group 58"/>
          <p:cNvGrpSpPr/>
          <p:nvPr/>
        </p:nvGrpSpPr>
        <p:grpSpPr>
          <a:xfrm>
            <a:off x="995448" y="2571625"/>
            <a:ext cx="845769" cy="845769"/>
            <a:chOff x="662962" y="2884890"/>
            <a:chExt cx="845769" cy="845769"/>
          </a:xfrm>
        </p:grpSpPr>
        <p:sp>
          <p:nvSpPr>
            <p:cNvPr id="55" name="Oval 54"/>
            <p:cNvSpPr/>
            <p:nvPr/>
          </p:nvSpPr>
          <p:spPr>
            <a:xfrm>
              <a:off x="662962" y="2884890"/>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33" name="Group 32"/>
            <p:cNvGrpSpPr>
              <a:grpSpLocks noChangeAspect="1"/>
            </p:cNvGrpSpPr>
            <p:nvPr/>
          </p:nvGrpSpPr>
          <p:grpSpPr>
            <a:xfrm>
              <a:off x="742027" y="2954777"/>
              <a:ext cx="689009" cy="689009"/>
              <a:chOff x="4234656" y="2600325"/>
              <a:chExt cx="1657350" cy="1657350"/>
            </a:xfrm>
          </p:grpSpPr>
          <p:sp>
            <p:nvSpPr>
              <p:cNvPr id="34" name="AutoShape 3"/>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p:cNvGrpSpPr/>
              <p:nvPr/>
            </p:nvGrpSpPr>
            <p:grpSpPr>
              <a:xfrm>
                <a:off x="4404519" y="2772126"/>
                <a:ext cx="1316038" cy="1315687"/>
                <a:chOff x="4404519" y="2772126"/>
                <a:chExt cx="1316038" cy="1315687"/>
              </a:xfrm>
            </p:grpSpPr>
            <p:sp>
              <p:nvSpPr>
                <p:cNvPr id="36" name="Freeform 35"/>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7" name="Freeform 7"/>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39" name="Group 38"/>
          <p:cNvGrpSpPr>
            <a:grpSpLocks noChangeAspect="1"/>
          </p:cNvGrpSpPr>
          <p:nvPr/>
        </p:nvGrpSpPr>
        <p:grpSpPr>
          <a:xfrm>
            <a:off x="1139580" y="5624782"/>
            <a:ext cx="674371" cy="674371"/>
            <a:chOff x="5273675" y="2606675"/>
            <a:chExt cx="1646238" cy="1646238"/>
          </a:xfrm>
        </p:grpSpPr>
        <p:sp>
          <p:nvSpPr>
            <p:cNvPr id="40" name="AutoShape 44"/>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40"/>
            <p:cNvGrpSpPr/>
            <p:nvPr/>
          </p:nvGrpSpPr>
          <p:grpSpPr>
            <a:xfrm>
              <a:off x="5540375" y="3093160"/>
              <a:ext cx="1111710" cy="886702"/>
              <a:chOff x="5540375" y="3093160"/>
              <a:chExt cx="1111710" cy="886702"/>
            </a:xfrm>
          </p:grpSpPr>
          <p:sp>
            <p:nvSpPr>
              <p:cNvPr id="42" name="Freeform 41"/>
              <p:cNvSpPr>
                <a:spLocks/>
              </p:cNvSpPr>
              <p:nvPr/>
            </p:nvSpPr>
            <p:spPr bwMode="auto">
              <a:xfrm>
                <a:off x="5748338" y="3136900"/>
                <a:ext cx="696913" cy="239713"/>
              </a:xfrm>
              <a:custGeom>
                <a:avLst/>
                <a:gdLst>
                  <a:gd name="connsiteX0" fmla="*/ 199232 w 696913"/>
                  <a:gd name="connsiteY0" fmla="*/ 30163 h 239713"/>
                  <a:gd name="connsiteX1" fmla="*/ 187325 w 696913"/>
                  <a:gd name="connsiteY1" fmla="*/ 41644 h 239713"/>
                  <a:gd name="connsiteX2" fmla="*/ 187325 w 696913"/>
                  <a:gd name="connsiteY2" fmla="*/ 198070 h 239713"/>
                  <a:gd name="connsiteX3" fmla="*/ 199232 w 696913"/>
                  <a:gd name="connsiteY3" fmla="*/ 209551 h 239713"/>
                  <a:gd name="connsiteX4" fmla="*/ 211138 w 696913"/>
                  <a:gd name="connsiteY4" fmla="*/ 198070 h 239713"/>
                  <a:gd name="connsiteX5" fmla="*/ 211138 w 696913"/>
                  <a:gd name="connsiteY5" fmla="*/ 41644 h 239713"/>
                  <a:gd name="connsiteX6" fmla="*/ 199232 w 696913"/>
                  <a:gd name="connsiteY6" fmla="*/ 30163 h 239713"/>
                  <a:gd name="connsiteX7" fmla="*/ 157163 w 696913"/>
                  <a:gd name="connsiteY7" fmla="*/ 30163 h 239713"/>
                  <a:gd name="connsiteX8" fmla="*/ 146050 w 696913"/>
                  <a:gd name="connsiteY8" fmla="*/ 41644 h 239713"/>
                  <a:gd name="connsiteX9" fmla="*/ 146050 w 696913"/>
                  <a:gd name="connsiteY9" fmla="*/ 198070 h 239713"/>
                  <a:gd name="connsiteX10" fmla="*/ 157163 w 696913"/>
                  <a:gd name="connsiteY10" fmla="*/ 209551 h 239713"/>
                  <a:gd name="connsiteX11" fmla="*/ 168275 w 696913"/>
                  <a:gd name="connsiteY11" fmla="*/ 198070 h 239713"/>
                  <a:gd name="connsiteX12" fmla="*/ 168275 w 696913"/>
                  <a:gd name="connsiteY12" fmla="*/ 41644 h 239713"/>
                  <a:gd name="connsiteX13" fmla="*/ 157163 w 696913"/>
                  <a:gd name="connsiteY13" fmla="*/ 30163 h 239713"/>
                  <a:gd name="connsiteX14" fmla="*/ 463550 w 696913"/>
                  <a:gd name="connsiteY14" fmla="*/ 0 h 239713"/>
                  <a:gd name="connsiteX15" fmla="*/ 575937 w 696913"/>
                  <a:gd name="connsiteY15" fmla="*/ 0 h 239713"/>
                  <a:gd name="connsiteX16" fmla="*/ 696913 w 696913"/>
                  <a:gd name="connsiteY16" fmla="*/ 119499 h 239713"/>
                  <a:gd name="connsiteX17" fmla="*/ 575937 w 696913"/>
                  <a:gd name="connsiteY17" fmla="*/ 239713 h 239713"/>
                  <a:gd name="connsiteX18" fmla="*/ 463550 w 696913"/>
                  <a:gd name="connsiteY18" fmla="*/ 238998 h 239713"/>
                  <a:gd name="connsiteX19" fmla="*/ 463550 w 696913"/>
                  <a:gd name="connsiteY19" fmla="*/ 169588 h 239713"/>
                  <a:gd name="connsiteX20" fmla="*/ 463550 w 696913"/>
                  <a:gd name="connsiteY20" fmla="*/ 69410 h 239713"/>
                  <a:gd name="connsiteX21" fmla="*/ 463550 w 696913"/>
                  <a:gd name="connsiteY21" fmla="*/ 0 h 239713"/>
                  <a:gd name="connsiteX22" fmla="*/ 120977 w 696913"/>
                  <a:gd name="connsiteY22" fmla="*/ 0 h 239713"/>
                  <a:gd name="connsiteX23" fmla="*/ 233363 w 696913"/>
                  <a:gd name="connsiteY23" fmla="*/ 716 h 239713"/>
                  <a:gd name="connsiteX24" fmla="*/ 233363 w 696913"/>
                  <a:gd name="connsiteY24" fmla="*/ 70125 h 239713"/>
                  <a:gd name="connsiteX25" fmla="*/ 233363 w 696913"/>
                  <a:gd name="connsiteY25" fmla="*/ 171019 h 239713"/>
                  <a:gd name="connsiteX26" fmla="*/ 233363 w 696913"/>
                  <a:gd name="connsiteY26" fmla="*/ 239713 h 239713"/>
                  <a:gd name="connsiteX27" fmla="*/ 120977 w 696913"/>
                  <a:gd name="connsiteY27" fmla="*/ 239713 h 239713"/>
                  <a:gd name="connsiteX28" fmla="*/ 0 w 696913"/>
                  <a:gd name="connsiteY28" fmla="*/ 120930 h 239713"/>
                  <a:gd name="connsiteX29" fmla="*/ 120977 w 696913"/>
                  <a:gd name="connsiteY29" fmla="*/ 0 h 239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96913" h="239713">
                    <a:moveTo>
                      <a:pt x="199232" y="30163"/>
                    </a:moveTo>
                    <a:cubicBezTo>
                      <a:pt x="192534" y="30163"/>
                      <a:pt x="187325" y="35186"/>
                      <a:pt x="187325" y="41644"/>
                    </a:cubicBezTo>
                    <a:cubicBezTo>
                      <a:pt x="187325" y="41644"/>
                      <a:pt x="187325" y="41644"/>
                      <a:pt x="187325" y="198070"/>
                    </a:cubicBezTo>
                    <a:cubicBezTo>
                      <a:pt x="187325" y="204528"/>
                      <a:pt x="192534" y="209551"/>
                      <a:pt x="199232" y="209551"/>
                    </a:cubicBezTo>
                    <a:cubicBezTo>
                      <a:pt x="205929" y="209551"/>
                      <a:pt x="211138" y="204528"/>
                      <a:pt x="211138" y="198070"/>
                    </a:cubicBezTo>
                    <a:cubicBezTo>
                      <a:pt x="211138" y="198070"/>
                      <a:pt x="211138" y="198070"/>
                      <a:pt x="211138" y="41644"/>
                    </a:cubicBezTo>
                    <a:cubicBezTo>
                      <a:pt x="211138" y="35186"/>
                      <a:pt x="205929" y="30163"/>
                      <a:pt x="199232" y="30163"/>
                    </a:cubicBezTo>
                    <a:close/>
                    <a:moveTo>
                      <a:pt x="157163" y="30163"/>
                    </a:moveTo>
                    <a:cubicBezTo>
                      <a:pt x="150912" y="30163"/>
                      <a:pt x="146050" y="35186"/>
                      <a:pt x="146050" y="41644"/>
                    </a:cubicBezTo>
                    <a:cubicBezTo>
                      <a:pt x="146050" y="41644"/>
                      <a:pt x="146050" y="41644"/>
                      <a:pt x="146050" y="198070"/>
                    </a:cubicBezTo>
                    <a:cubicBezTo>
                      <a:pt x="146050" y="204528"/>
                      <a:pt x="150912" y="209551"/>
                      <a:pt x="157163" y="209551"/>
                    </a:cubicBezTo>
                    <a:cubicBezTo>
                      <a:pt x="162719" y="209551"/>
                      <a:pt x="168275" y="204528"/>
                      <a:pt x="168275" y="198070"/>
                    </a:cubicBezTo>
                    <a:cubicBezTo>
                      <a:pt x="168275" y="198070"/>
                      <a:pt x="168275" y="198070"/>
                      <a:pt x="168275" y="41644"/>
                    </a:cubicBezTo>
                    <a:cubicBezTo>
                      <a:pt x="168275" y="35186"/>
                      <a:pt x="162719" y="30163"/>
                      <a:pt x="157163" y="30163"/>
                    </a:cubicBezTo>
                    <a:close/>
                    <a:moveTo>
                      <a:pt x="463550" y="0"/>
                    </a:moveTo>
                    <a:cubicBezTo>
                      <a:pt x="463550" y="0"/>
                      <a:pt x="463550" y="0"/>
                      <a:pt x="575937" y="0"/>
                    </a:cubicBezTo>
                    <a:cubicBezTo>
                      <a:pt x="643225" y="0"/>
                      <a:pt x="696913" y="53667"/>
                      <a:pt x="696913" y="119499"/>
                    </a:cubicBezTo>
                    <a:cubicBezTo>
                      <a:pt x="696913" y="186046"/>
                      <a:pt x="642510" y="239713"/>
                      <a:pt x="575937" y="239713"/>
                    </a:cubicBezTo>
                    <a:cubicBezTo>
                      <a:pt x="575937" y="239713"/>
                      <a:pt x="575937" y="239713"/>
                      <a:pt x="463550" y="238998"/>
                    </a:cubicBezTo>
                    <a:cubicBezTo>
                      <a:pt x="463550" y="238998"/>
                      <a:pt x="463550" y="238998"/>
                      <a:pt x="463550" y="169588"/>
                    </a:cubicBezTo>
                    <a:cubicBezTo>
                      <a:pt x="463550" y="169588"/>
                      <a:pt x="463550" y="169588"/>
                      <a:pt x="463550" y="69410"/>
                    </a:cubicBezTo>
                    <a:cubicBezTo>
                      <a:pt x="463550" y="69410"/>
                      <a:pt x="463550" y="69410"/>
                      <a:pt x="463550" y="0"/>
                    </a:cubicBezTo>
                    <a:close/>
                    <a:moveTo>
                      <a:pt x="120977" y="0"/>
                    </a:moveTo>
                    <a:cubicBezTo>
                      <a:pt x="120977" y="0"/>
                      <a:pt x="120977" y="0"/>
                      <a:pt x="233363" y="716"/>
                    </a:cubicBezTo>
                    <a:cubicBezTo>
                      <a:pt x="233363" y="716"/>
                      <a:pt x="233363" y="716"/>
                      <a:pt x="233363" y="70125"/>
                    </a:cubicBezTo>
                    <a:cubicBezTo>
                      <a:pt x="233363" y="70125"/>
                      <a:pt x="233363" y="70125"/>
                      <a:pt x="233363" y="171019"/>
                    </a:cubicBezTo>
                    <a:cubicBezTo>
                      <a:pt x="233363" y="171019"/>
                      <a:pt x="233363" y="171019"/>
                      <a:pt x="233363" y="239713"/>
                    </a:cubicBezTo>
                    <a:cubicBezTo>
                      <a:pt x="233363" y="239713"/>
                      <a:pt x="233363" y="239713"/>
                      <a:pt x="120977" y="239713"/>
                    </a:cubicBezTo>
                    <a:cubicBezTo>
                      <a:pt x="54404" y="239713"/>
                      <a:pt x="0" y="186762"/>
                      <a:pt x="0" y="120930"/>
                    </a:cubicBezTo>
                    <a:cubicBezTo>
                      <a:pt x="0" y="53667"/>
                      <a:pt x="54404" y="0"/>
                      <a:pt x="12097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3" name="Freeform 42"/>
              <p:cNvSpPr>
                <a:spLocks/>
              </p:cNvSpPr>
              <p:nvPr/>
            </p:nvSpPr>
            <p:spPr bwMode="auto">
              <a:xfrm>
                <a:off x="5540375" y="3093160"/>
                <a:ext cx="1111710" cy="886702"/>
              </a:xfrm>
              <a:custGeom>
                <a:avLst/>
                <a:gdLst>
                  <a:gd name="connsiteX0" fmla="*/ 394075 w 1111710"/>
                  <a:gd name="connsiteY0" fmla="*/ 405689 h 886702"/>
                  <a:gd name="connsiteX1" fmla="*/ 324040 w 1111710"/>
                  <a:gd name="connsiteY1" fmla="*/ 423571 h 886702"/>
                  <a:gd name="connsiteX2" fmla="*/ 32465 w 1111710"/>
                  <a:gd name="connsiteY2" fmla="*/ 588800 h 886702"/>
                  <a:gd name="connsiteX3" fmla="*/ 31750 w 1111710"/>
                  <a:gd name="connsiteY3" fmla="*/ 847014 h 886702"/>
                  <a:gd name="connsiteX4" fmla="*/ 332615 w 1111710"/>
                  <a:gd name="connsiteY4" fmla="*/ 731140 h 886702"/>
                  <a:gd name="connsiteX5" fmla="*/ 417658 w 1111710"/>
                  <a:gd name="connsiteY5" fmla="*/ 714688 h 886702"/>
                  <a:gd name="connsiteX6" fmla="*/ 434809 w 1111710"/>
                  <a:gd name="connsiteY6" fmla="*/ 715403 h 886702"/>
                  <a:gd name="connsiteX7" fmla="*/ 554870 w 1111710"/>
                  <a:gd name="connsiteY7" fmla="*/ 724702 h 886702"/>
                  <a:gd name="connsiteX8" fmla="*/ 602036 w 1111710"/>
                  <a:gd name="connsiteY8" fmla="*/ 726848 h 886702"/>
                  <a:gd name="connsiteX9" fmla="*/ 799278 w 1111710"/>
                  <a:gd name="connsiteY9" fmla="*/ 696806 h 886702"/>
                  <a:gd name="connsiteX10" fmla="*/ 812142 w 1111710"/>
                  <a:gd name="connsiteY10" fmla="*/ 692515 h 886702"/>
                  <a:gd name="connsiteX11" fmla="*/ 1025105 w 1111710"/>
                  <a:gd name="connsiteY11" fmla="*/ 552321 h 886702"/>
                  <a:gd name="connsiteX12" fmla="*/ 1071557 w 1111710"/>
                  <a:gd name="connsiteY12" fmla="*/ 497244 h 886702"/>
                  <a:gd name="connsiteX13" fmla="*/ 1068699 w 1111710"/>
                  <a:gd name="connsiteY13" fmla="*/ 442883 h 886702"/>
                  <a:gd name="connsiteX14" fmla="*/ 1042972 w 1111710"/>
                  <a:gd name="connsiteY14" fmla="*/ 432870 h 886702"/>
                  <a:gd name="connsiteX15" fmla="*/ 1013671 w 1111710"/>
                  <a:gd name="connsiteY15" fmla="*/ 446460 h 886702"/>
                  <a:gd name="connsiteX16" fmla="*/ 965075 w 1111710"/>
                  <a:gd name="connsiteY16" fmla="*/ 500821 h 886702"/>
                  <a:gd name="connsiteX17" fmla="*/ 807854 w 1111710"/>
                  <a:gd name="connsiteY17" fmla="*/ 598098 h 886702"/>
                  <a:gd name="connsiteX18" fmla="*/ 801422 w 1111710"/>
                  <a:gd name="connsiteY18" fmla="*/ 600244 h 886702"/>
                  <a:gd name="connsiteX19" fmla="*/ 718523 w 1111710"/>
                  <a:gd name="connsiteY19" fmla="*/ 610973 h 886702"/>
                  <a:gd name="connsiteX20" fmla="*/ 604895 w 1111710"/>
                  <a:gd name="connsiteY20" fmla="*/ 588800 h 886702"/>
                  <a:gd name="connsiteX21" fmla="*/ 579882 w 1111710"/>
                  <a:gd name="connsiteY21" fmla="*/ 578786 h 886702"/>
                  <a:gd name="connsiteX22" fmla="*/ 554155 w 1111710"/>
                  <a:gd name="connsiteY22" fmla="*/ 534439 h 886702"/>
                  <a:gd name="connsiteX23" fmla="*/ 591317 w 1111710"/>
                  <a:gd name="connsiteY23" fmla="*/ 499390 h 886702"/>
                  <a:gd name="connsiteX24" fmla="*/ 712091 w 1111710"/>
                  <a:gd name="connsiteY24" fmla="*/ 487946 h 886702"/>
                  <a:gd name="connsiteX25" fmla="*/ 742106 w 1111710"/>
                  <a:gd name="connsiteY25" fmla="*/ 454328 h 886702"/>
                  <a:gd name="connsiteX26" fmla="*/ 710662 w 1111710"/>
                  <a:gd name="connsiteY26" fmla="*/ 421425 h 886702"/>
                  <a:gd name="connsiteX27" fmla="*/ 401221 w 1111710"/>
                  <a:gd name="connsiteY27" fmla="*/ 405689 h 886702"/>
                  <a:gd name="connsiteX28" fmla="*/ 394075 w 1111710"/>
                  <a:gd name="connsiteY28" fmla="*/ 405689 h 886702"/>
                  <a:gd name="connsiteX29" fmla="*/ 393537 w 1111710"/>
                  <a:gd name="connsiteY29" fmla="*/ 373939 h 886702"/>
                  <a:gd name="connsiteX30" fmla="*/ 402108 w 1111710"/>
                  <a:gd name="connsiteY30" fmla="*/ 373939 h 886702"/>
                  <a:gd name="connsiteX31" fmla="*/ 711367 w 1111710"/>
                  <a:gd name="connsiteY31" fmla="*/ 389694 h 886702"/>
                  <a:gd name="connsiteX32" fmla="*/ 772790 w 1111710"/>
                  <a:gd name="connsiteY32" fmla="*/ 454148 h 886702"/>
                  <a:gd name="connsiteX33" fmla="*/ 714224 w 1111710"/>
                  <a:gd name="connsiteY33" fmla="*/ 518601 h 886702"/>
                  <a:gd name="connsiteX34" fmla="*/ 593520 w 1111710"/>
                  <a:gd name="connsiteY34" fmla="*/ 530776 h 886702"/>
                  <a:gd name="connsiteX35" fmla="*/ 590663 w 1111710"/>
                  <a:gd name="connsiteY35" fmla="*/ 549396 h 886702"/>
                  <a:gd name="connsiteX36" fmla="*/ 616375 w 1111710"/>
                  <a:gd name="connsiteY36" fmla="*/ 560138 h 886702"/>
                  <a:gd name="connsiteX37" fmla="*/ 718509 w 1111710"/>
                  <a:gd name="connsiteY37" fmla="*/ 579474 h 886702"/>
                  <a:gd name="connsiteX38" fmla="*/ 792788 w 1111710"/>
                  <a:gd name="connsiteY38" fmla="*/ 569448 h 886702"/>
                  <a:gd name="connsiteX39" fmla="*/ 799216 w 1111710"/>
                  <a:gd name="connsiteY39" fmla="*/ 568016 h 886702"/>
                  <a:gd name="connsiteX40" fmla="*/ 940632 w 1111710"/>
                  <a:gd name="connsiteY40" fmla="*/ 479929 h 886702"/>
                  <a:gd name="connsiteX41" fmla="*/ 989200 w 1111710"/>
                  <a:gd name="connsiteY41" fmla="*/ 424786 h 886702"/>
                  <a:gd name="connsiteX42" fmla="*/ 1042052 w 1111710"/>
                  <a:gd name="connsiteY42" fmla="*/ 401153 h 886702"/>
                  <a:gd name="connsiteX43" fmla="*/ 1089191 w 1111710"/>
                  <a:gd name="connsiteY43" fmla="*/ 419773 h 886702"/>
                  <a:gd name="connsiteX44" fmla="*/ 1094905 w 1111710"/>
                  <a:gd name="connsiteY44" fmla="*/ 517169 h 886702"/>
                  <a:gd name="connsiteX45" fmla="*/ 1047766 w 1111710"/>
                  <a:gd name="connsiteY45" fmla="*/ 572313 h 886702"/>
                  <a:gd name="connsiteX46" fmla="*/ 820643 w 1111710"/>
                  <a:gd name="connsiteY46" fmla="*/ 722704 h 886702"/>
                  <a:gd name="connsiteX47" fmla="*/ 807787 w 1111710"/>
                  <a:gd name="connsiteY47" fmla="*/ 727001 h 886702"/>
                  <a:gd name="connsiteX48" fmla="*/ 601376 w 1111710"/>
                  <a:gd name="connsiteY48" fmla="*/ 758511 h 886702"/>
                  <a:gd name="connsiteX49" fmla="*/ 552095 w 1111710"/>
                  <a:gd name="connsiteY49" fmla="*/ 756363 h 886702"/>
                  <a:gd name="connsiteX50" fmla="*/ 431391 w 1111710"/>
                  <a:gd name="connsiteY50" fmla="*/ 747053 h 886702"/>
                  <a:gd name="connsiteX51" fmla="*/ 417107 w 1111710"/>
                  <a:gd name="connsiteY51" fmla="*/ 746337 h 886702"/>
                  <a:gd name="connsiteX52" fmla="*/ 343542 w 1111710"/>
                  <a:gd name="connsiteY52" fmla="*/ 760660 h 886702"/>
                  <a:gd name="connsiteX53" fmla="*/ 21427 w 1111710"/>
                  <a:gd name="connsiteY53" fmla="*/ 885270 h 886702"/>
                  <a:gd name="connsiteX54" fmla="*/ 15713 w 1111710"/>
                  <a:gd name="connsiteY54" fmla="*/ 886702 h 886702"/>
                  <a:gd name="connsiteX55" fmla="*/ 0 w 1111710"/>
                  <a:gd name="connsiteY55" fmla="*/ 870231 h 886702"/>
                  <a:gd name="connsiteX56" fmla="*/ 714 w 1111710"/>
                  <a:gd name="connsiteY56" fmla="*/ 580190 h 886702"/>
                  <a:gd name="connsiteX57" fmla="*/ 8571 w 1111710"/>
                  <a:gd name="connsiteY57" fmla="*/ 566583 h 886702"/>
                  <a:gd name="connsiteX58" fmla="*/ 307831 w 1111710"/>
                  <a:gd name="connsiteY58" fmla="*/ 396140 h 886702"/>
                  <a:gd name="connsiteX59" fmla="*/ 393537 w 1111710"/>
                  <a:gd name="connsiteY59" fmla="*/ 373939 h 886702"/>
                  <a:gd name="connsiteX60" fmla="*/ 509588 w 1111710"/>
                  <a:gd name="connsiteY60" fmla="*/ 234239 h 886702"/>
                  <a:gd name="connsiteX61" fmla="*/ 574394 w 1111710"/>
                  <a:gd name="connsiteY61" fmla="*/ 234239 h 886702"/>
                  <a:gd name="connsiteX62" fmla="*/ 585788 w 1111710"/>
                  <a:gd name="connsiteY62" fmla="*/ 246145 h 886702"/>
                  <a:gd name="connsiteX63" fmla="*/ 574394 w 1111710"/>
                  <a:gd name="connsiteY63" fmla="*/ 258052 h 886702"/>
                  <a:gd name="connsiteX64" fmla="*/ 509588 w 1111710"/>
                  <a:gd name="connsiteY64" fmla="*/ 258052 h 886702"/>
                  <a:gd name="connsiteX65" fmla="*/ 509588 w 1111710"/>
                  <a:gd name="connsiteY65" fmla="*/ 234239 h 886702"/>
                  <a:gd name="connsiteX66" fmla="*/ 509588 w 1111710"/>
                  <a:gd name="connsiteY66" fmla="*/ 70727 h 886702"/>
                  <a:gd name="connsiteX67" fmla="*/ 574394 w 1111710"/>
                  <a:gd name="connsiteY67" fmla="*/ 70727 h 886702"/>
                  <a:gd name="connsiteX68" fmla="*/ 585788 w 1111710"/>
                  <a:gd name="connsiteY68" fmla="*/ 82633 h 886702"/>
                  <a:gd name="connsiteX69" fmla="*/ 574394 w 1111710"/>
                  <a:gd name="connsiteY69" fmla="*/ 94540 h 886702"/>
                  <a:gd name="connsiteX70" fmla="*/ 509588 w 1111710"/>
                  <a:gd name="connsiteY70" fmla="*/ 94540 h 886702"/>
                  <a:gd name="connsiteX71" fmla="*/ 509588 w 1111710"/>
                  <a:gd name="connsiteY71" fmla="*/ 70727 h 886702"/>
                  <a:gd name="connsiteX72" fmla="*/ 650007 w 1111710"/>
                  <a:gd name="connsiteY72" fmla="*/ 21514 h 886702"/>
                  <a:gd name="connsiteX73" fmla="*/ 650007 w 1111710"/>
                  <a:gd name="connsiteY73" fmla="*/ 44431 h 886702"/>
                  <a:gd name="connsiteX74" fmla="*/ 649288 w 1111710"/>
                  <a:gd name="connsiteY74" fmla="*/ 113899 h 886702"/>
                  <a:gd name="connsiteX75" fmla="*/ 649288 w 1111710"/>
                  <a:gd name="connsiteY75" fmla="*/ 214163 h 886702"/>
                  <a:gd name="connsiteX76" fmla="*/ 649288 w 1111710"/>
                  <a:gd name="connsiteY76" fmla="*/ 283631 h 886702"/>
                  <a:gd name="connsiteX77" fmla="*/ 649288 w 1111710"/>
                  <a:gd name="connsiteY77" fmla="*/ 306548 h 886702"/>
                  <a:gd name="connsiteX78" fmla="*/ 672272 w 1111710"/>
                  <a:gd name="connsiteY78" fmla="*/ 306548 h 886702"/>
                  <a:gd name="connsiteX79" fmla="*/ 784320 w 1111710"/>
                  <a:gd name="connsiteY79" fmla="*/ 307264 h 886702"/>
                  <a:gd name="connsiteX80" fmla="*/ 928688 w 1111710"/>
                  <a:gd name="connsiteY80" fmla="*/ 164747 h 886702"/>
                  <a:gd name="connsiteX81" fmla="*/ 785038 w 1111710"/>
                  <a:gd name="connsiteY81" fmla="*/ 21514 h 886702"/>
                  <a:gd name="connsiteX82" fmla="*/ 672272 w 1111710"/>
                  <a:gd name="connsiteY82" fmla="*/ 21514 h 886702"/>
                  <a:gd name="connsiteX83" fmla="*/ 650007 w 1111710"/>
                  <a:gd name="connsiteY83" fmla="*/ 21514 h 886702"/>
                  <a:gd name="connsiteX84" fmla="*/ 328941 w 1111710"/>
                  <a:gd name="connsiteY84" fmla="*/ 21514 h 886702"/>
                  <a:gd name="connsiteX85" fmla="*/ 185738 w 1111710"/>
                  <a:gd name="connsiteY85" fmla="*/ 165107 h 886702"/>
                  <a:gd name="connsiteX86" fmla="*/ 328941 w 1111710"/>
                  <a:gd name="connsiteY86" fmla="*/ 307264 h 886702"/>
                  <a:gd name="connsiteX87" fmla="*/ 440639 w 1111710"/>
                  <a:gd name="connsiteY87" fmla="*/ 307264 h 886702"/>
                  <a:gd name="connsiteX88" fmla="*/ 463551 w 1111710"/>
                  <a:gd name="connsiteY88" fmla="*/ 307264 h 886702"/>
                  <a:gd name="connsiteX89" fmla="*/ 463551 w 1111710"/>
                  <a:gd name="connsiteY89" fmla="*/ 284289 h 886702"/>
                  <a:gd name="connsiteX90" fmla="*/ 463551 w 1111710"/>
                  <a:gd name="connsiteY90" fmla="*/ 215365 h 886702"/>
                  <a:gd name="connsiteX91" fmla="*/ 463551 w 1111710"/>
                  <a:gd name="connsiteY91" fmla="*/ 114132 h 886702"/>
                  <a:gd name="connsiteX92" fmla="*/ 463551 w 1111710"/>
                  <a:gd name="connsiteY92" fmla="*/ 44489 h 886702"/>
                  <a:gd name="connsiteX93" fmla="*/ 463551 w 1111710"/>
                  <a:gd name="connsiteY93" fmla="*/ 21514 h 886702"/>
                  <a:gd name="connsiteX94" fmla="*/ 441355 w 1111710"/>
                  <a:gd name="connsiteY94" fmla="*/ 21514 h 886702"/>
                  <a:gd name="connsiteX95" fmla="*/ 328941 w 1111710"/>
                  <a:gd name="connsiteY95" fmla="*/ 21514 h 886702"/>
                  <a:gd name="connsiteX96" fmla="*/ 640764 w 1111710"/>
                  <a:gd name="connsiteY96" fmla="*/ 877 h 886702"/>
                  <a:gd name="connsiteX97" fmla="*/ 785413 w 1111710"/>
                  <a:gd name="connsiteY97" fmla="*/ 877 h 886702"/>
                  <a:gd name="connsiteX98" fmla="*/ 949301 w 1111710"/>
                  <a:gd name="connsiteY98" fmla="*/ 154135 h 886702"/>
                  <a:gd name="connsiteX99" fmla="*/ 960702 w 1111710"/>
                  <a:gd name="connsiteY99" fmla="*/ 154135 h 886702"/>
                  <a:gd name="connsiteX100" fmla="*/ 972103 w 1111710"/>
                  <a:gd name="connsiteY100" fmla="*/ 154135 h 886702"/>
                  <a:gd name="connsiteX101" fmla="*/ 1083974 w 1111710"/>
                  <a:gd name="connsiteY101" fmla="*/ 154135 h 886702"/>
                  <a:gd name="connsiteX102" fmla="*/ 1095375 w 1111710"/>
                  <a:gd name="connsiteY102" fmla="*/ 165540 h 886702"/>
                  <a:gd name="connsiteX103" fmla="*/ 1083974 w 1111710"/>
                  <a:gd name="connsiteY103" fmla="*/ 176945 h 886702"/>
                  <a:gd name="connsiteX104" fmla="*/ 971390 w 1111710"/>
                  <a:gd name="connsiteY104" fmla="*/ 176945 h 886702"/>
                  <a:gd name="connsiteX105" fmla="*/ 960702 w 1111710"/>
                  <a:gd name="connsiteY105" fmla="*/ 176945 h 886702"/>
                  <a:gd name="connsiteX106" fmla="*/ 949301 w 1111710"/>
                  <a:gd name="connsiteY106" fmla="*/ 176945 h 886702"/>
                  <a:gd name="connsiteX107" fmla="*/ 784700 w 1111710"/>
                  <a:gd name="connsiteY107" fmla="*/ 329490 h 886702"/>
                  <a:gd name="connsiteX108" fmla="*/ 640051 w 1111710"/>
                  <a:gd name="connsiteY108" fmla="*/ 328777 h 886702"/>
                  <a:gd name="connsiteX109" fmla="*/ 628650 w 1111710"/>
                  <a:gd name="connsiteY109" fmla="*/ 318085 h 886702"/>
                  <a:gd name="connsiteX110" fmla="*/ 629363 w 1111710"/>
                  <a:gd name="connsiteY110" fmla="*/ 12282 h 886702"/>
                  <a:gd name="connsiteX111" fmla="*/ 640764 w 1111710"/>
                  <a:gd name="connsiteY111" fmla="*/ 877 h 886702"/>
                  <a:gd name="connsiteX112" fmla="*/ 328956 w 1111710"/>
                  <a:gd name="connsiteY112" fmla="*/ 5 h 886702"/>
                  <a:gd name="connsiteX113" fmla="*/ 474319 w 1111710"/>
                  <a:gd name="connsiteY113" fmla="*/ 5 h 886702"/>
                  <a:gd name="connsiteX114" fmla="*/ 485776 w 1111710"/>
                  <a:gd name="connsiteY114" fmla="*/ 11466 h 886702"/>
                  <a:gd name="connsiteX115" fmla="*/ 485776 w 1111710"/>
                  <a:gd name="connsiteY115" fmla="*/ 71632 h 886702"/>
                  <a:gd name="connsiteX116" fmla="*/ 485776 w 1111710"/>
                  <a:gd name="connsiteY116" fmla="*/ 92404 h 886702"/>
                  <a:gd name="connsiteX117" fmla="*/ 485776 w 1111710"/>
                  <a:gd name="connsiteY117" fmla="*/ 237090 h 886702"/>
                  <a:gd name="connsiteX118" fmla="*/ 485776 w 1111710"/>
                  <a:gd name="connsiteY118" fmla="*/ 258579 h 886702"/>
                  <a:gd name="connsiteX119" fmla="*/ 485776 w 1111710"/>
                  <a:gd name="connsiteY119" fmla="*/ 318745 h 886702"/>
                  <a:gd name="connsiteX120" fmla="*/ 474319 w 1111710"/>
                  <a:gd name="connsiteY120" fmla="*/ 329489 h 886702"/>
                  <a:gd name="connsiteX121" fmla="*/ 328956 w 1111710"/>
                  <a:gd name="connsiteY121" fmla="*/ 329489 h 886702"/>
                  <a:gd name="connsiteX122" fmla="*/ 164259 w 1111710"/>
                  <a:gd name="connsiteY122" fmla="*/ 176208 h 886702"/>
                  <a:gd name="connsiteX123" fmla="*/ 152801 w 1111710"/>
                  <a:gd name="connsiteY123" fmla="*/ 176208 h 886702"/>
                  <a:gd name="connsiteX124" fmla="*/ 141344 w 1111710"/>
                  <a:gd name="connsiteY124" fmla="*/ 176208 h 886702"/>
                  <a:gd name="connsiteX125" fmla="*/ 28920 w 1111710"/>
                  <a:gd name="connsiteY125" fmla="*/ 175491 h 886702"/>
                  <a:gd name="connsiteX126" fmla="*/ 17463 w 1111710"/>
                  <a:gd name="connsiteY126" fmla="*/ 164031 h 886702"/>
                  <a:gd name="connsiteX127" fmla="*/ 28920 w 1111710"/>
                  <a:gd name="connsiteY127" fmla="*/ 152571 h 886702"/>
                  <a:gd name="connsiteX128" fmla="*/ 141344 w 1111710"/>
                  <a:gd name="connsiteY128" fmla="*/ 153287 h 886702"/>
                  <a:gd name="connsiteX129" fmla="*/ 152801 w 1111710"/>
                  <a:gd name="connsiteY129" fmla="*/ 153287 h 886702"/>
                  <a:gd name="connsiteX130" fmla="*/ 164259 w 1111710"/>
                  <a:gd name="connsiteY130" fmla="*/ 153287 h 886702"/>
                  <a:gd name="connsiteX131" fmla="*/ 328956 w 1111710"/>
                  <a:gd name="connsiteY131" fmla="*/ 5 h 88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111710" h="886702">
                    <a:moveTo>
                      <a:pt x="394075" y="405689"/>
                    </a:moveTo>
                    <a:cubicBezTo>
                      <a:pt x="369062" y="405689"/>
                      <a:pt x="345479" y="411411"/>
                      <a:pt x="324040" y="423571"/>
                    </a:cubicBezTo>
                    <a:cubicBezTo>
                      <a:pt x="324040" y="423571"/>
                      <a:pt x="324040" y="423571"/>
                      <a:pt x="32465" y="588800"/>
                    </a:cubicBezTo>
                    <a:cubicBezTo>
                      <a:pt x="32465" y="588800"/>
                      <a:pt x="32465" y="588800"/>
                      <a:pt x="31750" y="847014"/>
                    </a:cubicBezTo>
                    <a:cubicBezTo>
                      <a:pt x="31750" y="847014"/>
                      <a:pt x="31750" y="847014"/>
                      <a:pt x="332615" y="731140"/>
                    </a:cubicBezTo>
                    <a:cubicBezTo>
                      <a:pt x="359772" y="720410"/>
                      <a:pt x="388358" y="714688"/>
                      <a:pt x="417658" y="714688"/>
                    </a:cubicBezTo>
                    <a:cubicBezTo>
                      <a:pt x="423375" y="714688"/>
                      <a:pt x="429092" y="715403"/>
                      <a:pt x="434809" y="715403"/>
                    </a:cubicBezTo>
                    <a:cubicBezTo>
                      <a:pt x="434809" y="715403"/>
                      <a:pt x="434809" y="715403"/>
                      <a:pt x="554870" y="724702"/>
                    </a:cubicBezTo>
                    <a:cubicBezTo>
                      <a:pt x="570592" y="726133"/>
                      <a:pt x="586314" y="726848"/>
                      <a:pt x="602036" y="726848"/>
                    </a:cubicBezTo>
                    <a:cubicBezTo>
                      <a:pt x="669213" y="726848"/>
                      <a:pt x="735675" y="716834"/>
                      <a:pt x="799278" y="696806"/>
                    </a:cubicBezTo>
                    <a:cubicBezTo>
                      <a:pt x="799278" y="696806"/>
                      <a:pt x="799278" y="696806"/>
                      <a:pt x="812142" y="692515"/>
                    </a:cubicBezTo>
                    <a:cubicBezTo>
                      <a:pt x="895040" y="666765"/>
                      <a:pt x="968649" y="618126"/>
                      <a:pt x="1025105" y="552321"/>
                    </a:cubicBezTo>
                    <a:cubicBezTo>
                      <a:pt x="1025105" y="552321"/>
                      <a:pt x="1025105" y="552321"/>
                      <a:pt x="1071557" y="497244"/>
                    </a:cubicBezTo>
                    <a:cubicBezTo>
                      <a:pt x="1085850" y="480793"/>
                      <a:pt x="1084421" y="457189"/>
                      <a:pt x="1068699" y="442883"/>
                    </a:cubicBezTo>
                    <a:cubicBezTo>
                      <a:pt x="1061552" y="436446"/>
                      <a:pt x="1052262" y="432870"/>
                      <a:pt x="1042972" y="432870"/>
                    </a:cubicBezTo>
                    <a:cubicBezTo>
                      <a:pt x="1031537" y="432870"/>
                      <a:pt x="1021532" y="437877"/>
                      <a:pt x="1013671" y="446460"/>
                    </a:cubicBezTo>
                    <a:cubicBezTo>
                      <a:pt x="1013671" y="446460"/>
                      <a:pt x="1013671" y="446460"/>
                      <a:pt x="965075" y="500821"/>
                    </a:cubicBezTo>
                    <a:cubicBezTo>
                      <a:pt x="922911" y="547314"/>
                      <a:pt x="868598" y="580932"/>
                      <a:pt x="807854" y="598098"/>
                    </a:cubicBezTo>
                    <a:cubicBezTo>
                      <a:pt x="807854" y="598098"/>
                      <a:pt x="807854" y="598098"/>
                      <a:pt x="801422" y="600244"/>
                    </a:cubicBezTo>
                    <a:cubicBezTo>
                      <a:pt x="774265" y="607397"/>
                      <a:pt x="747109" y="610973"/>
                      <a:pt x="718523" y="610973"/>
                    </a:cubicBezTo>
                    <a:cubicBezTo>
                      <a:pt x="679218" y="610973"/>
                      <a:pt x="641342" y="603820"/>
                      <a:pt x="604895" y="588800"/>
                    </a:cubicBezTo>
                    <a:cubicBezTo>
                      <a:pt x="604895" y="588800"/>
                      <a:pt x="604895" y="588800"/>
                      <a:pt x="579882" y="578786"/>
                    </a:cubicBezTo>
                    <a:cubicBezTo>
                      <a:pt x="562016" y="571633"/>
                      <a:pt x="551296" y="553751"/>
                      <a:pt x="554155" y="534439"/>
                    </a:cubicBezTo>
                    <a:cubicBezTo>
                      <a:pt x="557014" y="515842"/>
                      <a:pt x="572021" y="501536"/>
                      <a:pt x="591317" y="499390"/>
                    </a:cubicBezTo>
                    <a:cubicBezTo>
                      <a:pt x="591317" y="499390"/>
                      <a:pt x="591317" y="499390"/>
                      <a:pt x="712091" y="487946"/>
                    </a:cubicBezTo>
                    <a:cubicBezTo>
                      <a:pt x="729243" y="485800"/>
                      <a:pt x="742106" y="471494"/>
                      <a:pt x="742106" y="454328"/>
                    </a:cubicBezTo>
                    <a:cubicBezTo>
                      <a:pt x="742106" y="437161"/>
                      <a:pt x="728528" y="422140"/>
                      <a:pt x="710662" y="421425"/>
                    </a:cubicBezTo>
                    <a:cubicBezTo>
                      <a:pt x="710662" y="421425"/>
                      <a:pt x="710662" y="421425"/>
                      <a:pt x="401221" y="405689"/>
                    </a:cubicBezTo>
                    <a:cubicBezTo>
                      <a:pt x="398363" y="405689"/>
                      <a:pt x="396219" y="405689"/>
                      <a:pt x="394075" y="405689"/>
                    </a:cubicBezTo>
                    <a:close/>
                    <a:moveTo>
                      <a:pt x="393537" y="373939"/>
                    </a:moveTo>
                    <a:cubicBezTo>
                      <a:pt x="396394" y="373939"/>
                      <a:pt x="399251" y="373939"/>
                      <a:pt x="402108" y="373939"/>
                    </a:cubicBezTo>
                    <a:cubicBezTo>
                      <a:pt x="402108" y="373939"/>
                      <a:pt x="402108" y="373939"/>
                      <a:pt x="711367" y="389694"/>
                    </a:cubicBezTo>
                    <a:cubicBezTo>
                      <a:pt x="745649" y="391843"/>
                      <a:pt x="772790" y="419773"/>
                      <a:pt x="772790" y="454148"/>
                    </a:cubicBezTo>
                    <a:cubicBezTo>
                      <a:pt x="772790" y="487807"/>
                      <a:pt x="747792" y="515737"/>
                      <a:pt x="714224" y="518601"/>
                    </a:cubicBezTo>
                    <a:cubicBezTo>
                      <a:pt x="714224" y="518601"/>
                      <a:pt x="714224" y="518601"/>
                      <a:pt x="593520" y="530776"/>
                    </a:cubicBezTo>
                    <a:cubicBezTo>
                      <a:pt x="583521" y="531492"/>
                      <a:pt x="581378" y="545815"/>
                      <a:pt x="590663" y="549396"/>
                    </a:cubicBezTo>
                    <a:cubicBezTo>
                      <a:pt x="590663" y="549396"/>
                      <a:pt x="590663" y="549396"/>
                      <a:pt x="616375" y="560138"/>
                    </a:cubicBezTo>
                    <a:cubicBezTo>
                      <a:pt x="649229" y="573029"/>
                      <a:pt x="684226" y="579474"/>
                      <a:pt x="718509" y="579474"/>
                    </a:cubicBezTo>
                    <a:cubicBezTo>
                      <a:pt x="743507" y="579474"/>
                      <a:pt x="768505" y="576609"/>
                      <a:pt x="792788" y="569448"/>
                    </a:cubicBezTo>
                    <a:cubicBezTo>
                      <a:pt x="792788" y="569448"/>
                      <a:pt x="792788" y="569448"/>
                      <a:pt x="799216" y="568016"/>
                    </a:cubicBezTo>
                    <a:cubicBezTo>
                      <a:pt x="854211" y="552260"/>
                      <a:pt x="903493" y="521466"/>
                      <a:pt x="940632" y="479929"/>
                    </a:cubicBezTo>
                    <a:cubicBezTo>
                      <a:pt x="940632" y="479929"/>
                      <a:pt x="940632" y="479929"/>
                      <a:pt x="989200" y="424786"/>
                    </a:cubicBezTo>
                    <a:cubicBezTo>
                      <a:pt x="1003484" y="409747"/>
                      <a:pt x="1022768" y="401153"/>
                      <a:pt x="1042052" y="401153"/>
                    </a:cubicBezTo>
                    <a:cubicBezTo>
                      <a:pt x="1058479" y="401153"/>
                      <a:pt x="1075621" y="407598"/>
                      <a:pt x="1089191" y="419773"/>
                    </a:cubicBezTo>
                    <a:cubicBezTo>
                      <a:pt x="1117046" y="444838"/>
                      <a:pt x="1119188" y="488523"/>
                      <a:pt x="1094905" y="517169"/>
                    </a:cubicBezTo>
                    <a:cubicBezTo>
                      <a:pt x="1094905" y="517169"/>
                      <a:pt x="1094905" y="517169"/>
                      <a:pt x="1047766" y="572313"/>
                    </a:cubicBezTo>
                    <a:cubicBezTo>
                      <a:pt x="987771" y="642495"/>
                      <a:pt x="909207" y="695490"/>
                      <a:pt x="820643" y="722704"/>
                    </a:cubicBezTo>
                    <a:cubicBezTo>
                      <a:pt x="820643" y="722704"/>
                      <a:pt x="820643" y="722704"/>
                      <a:pt x="807787" y="727001"/>
                    </a:cubicBezTo>
                    <a:cubicBezTo>
                      <a:pt x="740650" y="747769"/>
                      <a:pt x="671370" y="758511"/>
                      <a:pt x="601376" y="758511"/>
                    </a:cubicBezTo>
                    <a:cubicBezTo>
                      <a:pt x="584949" y="758511"/>
                      <a:pt x="568522" y="757795"/>
                      <a:pt x="552095" y="756363"/>
                    </a:cubicBezTo>
                    <a:cubicBezTo>
                      <a:pt x="552095" y="756363"/>
                      <a:pt x="552095" y="756363"/>
                      <a:pt x="431391" y="747053"/>
                    </a:cubicBezTo>
                    <a:cubicBezTo>
                      <a:pt x="427106" y="747053"/>
                      <a:pt x="422106" y="746337"/>
                      <a:pt x="417107" y="746337"/>
                    </a:cubicBezTo>
                    <a:cubicBezTo>
                      <a:pt x="392109" y="746337"/>
                      <a:pt x="367111" y="751350"/>
                      <a:pt x="343542" y="760660"/>
                    </a:cubicBezTo>
                    <a:cubicBezTo>
                      <a:pt x="343542" y="760660"/>
                      <a:pt x="343542" y="760660"/>
                      <a:pt x="21427" y="885270"/>
                    </a:cubicBezTo>
                    <a:cubicBezTo>
                      <a:pt x="19999" y="885986"/>
                      <a:pt x="17856" y="886702"/>
                      <a:pt x="15713" y="886702"/>
                    </a:cubicBezTo>
                    <a:cubicBezTo>
                      <a:pt x="7142" y="886702"/>
                      <a:pt x="0" y="879541"/>
                      <a:pt x="0" y="870231"/>
                    </a:cubicBezTo>
                    <a:cubicBezTo>
                      <a:pt x="0" y="870231"/>
                      <a:pt x="0" y="870231"/>
                      <a:pt x="714" y="580190"/>
                    </a:cubicBezTo>
                    <a:cubicBezTo>
                      <a:pt x="714" y="574461"/>
                      <a:pt x="3571" y="568732"/>
                      <a:pt x="8571" y="566583"/>
                    </a:cubicBezTo>
                    <a:cubicBezTo>
                      <a:pt x="8571" y="566583"/>
                      <a:pt x="8571" y="566583"/>
                      <a:pt x="307831" y="396140"/>
                    </a:cubicBezTo>
                    <a:cubicBezTo>
                      <a:pt x="334257" y="381101"/>
                      <a:pt x="363540" y="373939"/>
                      <a:pt x="393537" y="373939"/>
                    </a:cubicBezTo>
                    <a:close/>
                    <a:moveTo>
                      <a:pt x="509588" y="234239"/>
                    </a:moveTo>
                    <a:cubicBezTo>
                      <a:pt x="509588" y="234239"/>
                      <a:pt x="509588" y="234239"/>
                      <a:pt x="574394" y="234239"/>
                    </a:cubicBezTo>
                    <a:cubicBezTo>
                      <a:pt x="580803" y="234239"/>
                      <a:pt x="585788" y="239842"/>
                      <a:pt x="585788" y="246145"/>
                    </a:cubicBezTo>
                    <a:cubicBezTo>
                      <a:pt x="585788" y="253149"/>
                      <a:pt x="580803" y="258052"/>
                      <a:pt x="574394" y="258052"/>
                    </a:cubicBezTo>
                    <a:cubicBezTo>
                      <a:pt x="574394" y="258052"/>
                      <a:pt x="574394" y="258052"/>
                      <a:pt x="509588" y="258052"/>
                    </a:cubicBezTo>
                    <a:cubicBezTo>
                      <a:pt x="509588" y="258052"/>
                      <a:pt x="509588" y="258052"/>
                      <a:pt x="509588" y="234239"/>
                    </a:cubicBezTo>
                    <a:close/>
                    <a:moveTo>
                      <a:pt x="509588" y="70727"/>
                    </a:moveTo>
                    <a:cubicBezTo>
                      <a:pt x="509588" y="70727"/>
                      <a:pt x="509588" y="70727"/>
                      <a:pt x="574394" y="70727"/>
                    </a:cubicBezTo>
                    <a:cubicBezTo>
                      <a:pt x="580803" y="70727"/>
                      <a:pt x="585788" y="75630"/>
                      <a:pt x="585788" y="82633"/>
                    </a:cubicBezTo>
                    <a:cubicBezTo>
                      <a:pt x="585788" y="88937"/>
                      <a:pt x="580803" y="94540"/>
                      <a:pt x="574394" y="94540"/>
                    </a:cubicBezTo>
                    <a:cubicBezTo>
                      <a:pt x="574394" y="94540"/>
                      <a:pt x="574394" y="94540"/>
                      <a:pt x="509588" y="94540"/>
                    </a:cubicBezTo>
                    <a:cubicBezTo>
                      <a:pt x="509588" y="94540"/>
                      <a:pt x="509588" y="94540"/>
                      <a:pt x="509588" y="70727"/>
                    </a:cubicBezTo>
                    <a:close/>
                    <a:moveTo>
                      <a:pt x="650007" y="21514"/>
                    </a:moveTo>
                    <a:cubicBezTo>
                      <a:pt x="650007" y="21514"/>
                      <a:pt x="650007" y="21514"/>
                      <a:pt x="650007" y="44431"/>
                    </a:cubicBezTo>
                    <a:cubicBezTo>
                      <a:pt x="650007" y="44431"/>
                      <a:pt x="650007" y="44431"/>
                      <a:pt x="649288" y="113899"/>
                    </a:cubicBezTo>
                    <a:cubicBezTo>
                      <a:pt x="649288" y="113899"/>
                      <a:pt x="649288" y="113899"/>
                      <a:pt x="649288" y="214163"/>
                    </a:cubicBezTo>
                    <a:cubicBezTo>
                      <a:pt x="649288" y="214163"/>
                      <a:pt x="649288" y="214163"/>
                      <a:pt x="649288" y="283631"/>
                    </a:cubicBezTo>
                    <a:cubicBezTo>
                      <a:pt x="649288" y="283631"/>
                      <a:pt x="649288" y="283631"/>
                      <a:pt x="649288" y="306548"/>
                    </a:cubicBezTo>
                    <a:cubicBezTo>
                      <a:pt x="649288" y="306548"/>
                      <a:pt x="649288" y="306548"/>
                      <a:pt x="672272" y="306548"/>
                    </a:cubicBezTo>
                    <a:cubicBezTo>
                      <a:pt x="672272" y="306548"/>
                      <a:pt x="672272" y="306548"/>
                      <a:pt x="784320" y="307264"/>
                    </a:cubicBezTo>
                    <a:cubicBezTo>
                      <a:pt x="864046" y="307264"/>
                      <a:pt x="928688" y="243525"/>
                      <a:pt x="928688" y="164747"/>
                    </a:cubicBezTo>
                    <a:cubicBezTo>
                      <a:pt x="928688" y="85253"/>
                      <a:pt x="864046" y="21514"/>
                      <a:pt x="785038" y="21514"/>
                    </a:cubicBezTo>
                    <a:cubicBezTo>
                      <a:pt x="785038" y="21514"/>
                      <a:pt x="785038" y="21514"/>
                      <a:pt x="672272" y="21514"/>
                    </a:cubicBezTo>
                    <a:cubicBezTo>
                      <a:pt x="672272" y="21514"/>
                      <a:pt x="672272" y="21514"/>
                      <a:pt x="650007" y="21514"/>
                    </a:cubicBezTo>
                    <a:close/>
                    <a:moveTo>
                      <a:pt x="328941" y="21514"/>
                    </a:moveTo>
                    <a:cubicBezTo>
                      <a:pt x="250179" y="21514"/>
                      <a:pt x="185738" y="86131"/>
                      <a:pt x="185738" y="165107"/>
                    </a:cubicBezTo>
                    <a:cubicBezTo>
                      <a:pt x="185738" y="243365"/>
                      <a:pt x="249463" y="307264"/>
                      <a:pt x="328941" y="307264"/>
                    </a:cubicBezTo>
                    <a:cubicBezTo>
                      <a:pt x="328941" y="307264"/>
                      <a:pt x="328941" y="307264"/>
                      <a:pt x="440639" y="307264"/>
                    </a:cubicBezTo>
                    <a:cubicBezTo>
                      <a:pt x="440639" y="307264"/>
                      <a:pt x="440639" y="307264"/>
                      <a:pt x="463551" y="307264"/>
                    </a:cubicBezTo>
                    <a:cubicBezTo>
                      <a:pt x="463551" y="307264"/>
                      <a:pt x="463551" y="307264"/>
                      <a:pt x="463551" y="284289"/>
                    </a:cubicBezTo>
                    <a:cubicBezTo>
                      <a:pt x="463551" y="284289"/>
                      <a:pt x="463551" y="284289"/>
                      <a:pt x="463551" y="215365"/>
                    </a:cubicBezTo>
                    <a:cubicBezTo>
                      <a:pt x="463551" y="215365"/>
                      <a:pt x="463551" y="215365"/>
                      <a:pt x="463551" y="114132"/>
                    </a:cubicBezTo>
                    <a:cubicBezTo>
                      <a:pt x="463551" y="114132"/>
                      <a:pt x="463551" y="114132"/>
                      <a:pt x="463551" y="44489"/>
                    </a:cubicBezTo>
                    <a:cubicBezTo>
                      <a:pt x="463551" y="44489"/>
                      <a:pt x="463551" y="44489"/>
                      <a:pt x="463551" y="21514"/>
                    </a:cubicBezTo>
                    <a:cubicBezTo>
                      <a:pt x="463551" y="21514"/>
                      <a:pt x="463551" y="21514"/>
                      <a:pt x="441355" y="21514"/>
                    </a:cubicBezTo>
                    <a:cubicBezTo>
                      <a:pt x="441355" y="21514"/>
                      <a:pt x="441355" y="21514"/>
                      <a:pt x="328941" y="21514"/>
                    </a:cubicBezTo>
                    <a:close/>
                    <a:moveTo>
                      <a:pt x="640764" y="877"/>
                    </a:moveTo>
                    <a:cubicBezTo>
                      <a:pt x="640764" y="877"/>
                      <a:pt x="640764" y="877"/>
                      <a:pt x="785413" y="877"/>
                    </a:cubicBezTo>
                    <a:cubicBezTo>
                      <a:pt x="872345" y="877"/>
                      <a:pt x="943601" y="68596"/>
                      <a:pt x="949301" y="154135"/>
                    </a:cubicBezTo>
                    <a:cubicBezTo>
                      <a:pt x="949301" y="154135"/>
                      <a:pt x="949301" y="154135"/>
                      <a:pt x="960702" y="154135"/>
                    </a:cubicBezTo>
                    <a:cubicBezTo>
                      <a:pt x="960702" y="154135"/>
                      <a:pt x="960702" y="154135"/>
                      <a:pt x="972103" y="154135"/>
                    </a:cubicBezTo>
                    <a:cubicBezTo>
                      <a:pt x="972103" y="154135"/>
                      <a:pt x="972103" y="154135"/>
                      <a:pt x="1083974" y="154135"/>
                    </a:cubicBezTo>
                    <a:cubicBezTo>
                      <a:pt x="1090387" y="154135"/>
                      <a:pt x="1095375" y="159125"/>
                      <a:pt x="1095375" y="165540"/>
                    </a:cubicBezTo>
                    <a:cubicBezTo>
                      <a:pt x="1095375" y="171955"/>
                      <a:pt x="1090387" y="176945"/>
                      <a:pt x="1083974" y="176945"/>
                    </a:cubicBezTo>
                    <a:cubicBezTo>
                      <a:pt x="1083974" y="176945"/>
                      <a:pt x="1083974" y="176945"/>
                      <a:pt x="971390" y="176945"/>
                    </a:cubicBezTo>
                    <a:cubicBezTo>
                      <a:pt x="971390" y="176945"/>
                      <a:pt x="971390" y="176945"/>
                      <a:pt x="960702" y="176945"/>
                    </a:cubicBezTo>
                    <a:cubicBezTo>
                      <a:pt x="960702" y="176945"/>
                      <a:pt x="960702" y="176945"/>
                      <a:pt x="949301" y="176945"/>
                    </a:cubicBezTo>
                    <a:cubicBezTo>
                      <a:pt x="943601" y="262484"/>
                      <a:pt x="872345" y="329490"/>
                      <a:pt x="784700" y="329490"/>
                    </a:cubicBezTo>
                    <a:cubicBezTo>
                      <a:pt x="784700" y="329490"/>
                      <a:pt x="784700" y="329490"/>
                      <a:pt x="640051" y="328777"/>
                    </a:cubicBezTo>
                    <a:cubicBezTo>
                      <a:pt x="633638" y="328777"/>
                      <a:pt x="628650" y="323788"/>
                      <a:pt x="628650" y="318085"/>
                    </a:cubicBezTo>
                    <a:cubicBezTo>
                      <a:pt x="628650" y="318085"/>
                      <a:pt x="628650" y="318085"/>
                      <a:pt x="629363" y="12282"/>
                    </a:cubicBezTo>
                    <a:cubicBezTo>
                      <a:pt x="629363" y="5867"/>
                      <a:pt x="634351" y="877"/>
                      <a:pt x="640764" y="877"/>
                    </a:cubicBezTo>
                    <a:close/>
                    <a:moveTo>
                      <a:pt x="328956" y="5"/>
                    </a:moveTo>
                    <a:cubicBezTo>
                      <a:pt x="328956" y="5"/>
                      <a:pt x="328956" y="5"/>
                      <a:pt x="474319" y="5"/>
                    </a:cubicBezTo>
                    <a:cubicBezTo>
                      <a:pt x="480764" y="5"/>
                      <a:pt x="485776" y="5019"/>
                      <a:pt x="485776" y="11466"/>
                    </a:cubicBezTo>
                    <a:cubicBezTo>
                      <a:pt x="485776" y="11466"/>
                      <a:pt x="485776" y="11466"/>
                      <a:pt x="485776" y="71632"/>
                    </a:cubicBezTo>
                    <a:cubicBezTo>
                      <a:pt x="485776" y="71632"/>
                      <a:pt x="485776" y="71632"/>
                      <a:pt x="485776" y="92404"/>
                    </a:cubicBezTo>
                    <a:cubicBezTo>
                      <a:pt x="485776" y="92404"/>
                      <a:pt x="485776" y="92404"/>
                      <a:pt x="485776" y="237090"/>
                    </a:cubicBezTo>
                    <a:cubicBezTo>
                      <a:pt x="485776" y="237090"/>
                      <a:pt x="485776" y="237090"/>
                      <a:pt x="485776" y="258579"/>
                    </a:cubicBezTo>
                    <a:cubicBezTo>
                      <a:pt x="485776" y="258579"/>
                      <a:pt x="485776" y="258579"/>
                      <a:pt x="485776" y="318745"/>
                    </a:cubicBezTo>
                    <a:cubicBezTo>
                      <a:pt x="485776" y="324475"/>
                      <a:pt x="480764" y="329489"/>
                      <a:pt x="474319" y="329489"/>
                    </a:cubicBezTo>
                    <a:cubicBezTo>
                      <a:pt x="474319" y="329489"/>
                      <a:pt x="474319" y="329489"/>
                      <a:pt x="328956" y="329489"/>
                    </a:cubicBezTo>
                    <a:cubicBezTo>
                      <a:pt x="240879" y="329489"/>
                      <a:pt x="169987" y="262160"/>
                      <a:pt x="164259" y="176208"/>
                    </a:cubicBezTo>
                    <a:cubicBezTo>
                      <a:pt x="164259" y="176208"/>
                      <a:pt x="164259" y="176208"/>
                      <a:pt x="152801" y="176208"/>
                    </a:cubicBezTo>
                    <a:cubicBezTo>
                      <a:pt x="152801" y="176208"/>
                      <a:pt x="152801" y="176208"/>
                      <a:pt x="141344" y="176208"/>
                    </a:cubicBezTo>
                    <a:cubicBezTo>
                      <a:pt x="141344" y="176208"/>
                      <a:pt x="141344" y="176208"/>
                      <a:pt x="28920" y="175491"/>
                    </a:cubicBezTo>
                    <a:cubicBezTo>
                      <a:pt x="22476" y="175491"/>
                      <a:pt x="17463" y="170477"/>
                      <a:pt x="17463" y="164031"/>
                    </a:cubicBezTo>
                    <a:cubicBezTo>
                      <a:pt x="17463" y="157585"/>
                      <a:pt x="22476" y="152571"/>
                      <a:pt x="28920" y="152571"/>
                    </a:cubicBezTo>
                    <a:cubicBezTo>
                      <a:pt x="28920" y="152571"/>
                      <a:pt x="28920" y="152571"/>
                      <a:pt x="141344" y="153287"/>
                    </a:cubicBezTo>
                    <a:cubicBezTo>
                      <a:pt x="141344" y="153287"/>
                      <a:pt x="141344" y="153287"/>
                      <a:pt x="152801" y="153287"/>
                    </a:cubicBezTo>
                    <a:cubicBezTo>
                      <a:pt x="152801" y="153287"/>
                      <a:pt x="152801" y="153287"/>
                      <a:pt x="164259" y="153287"/>
                    </a:cubicBezTo>
                    <a:cubicBezTo>
                      <a:pt x="169987" y="67335"/>
                      <a:pt x="241595" y="-711"/>
                      <a:pt x="328956"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60" name="Group 59"/>
          <p:cNvGrpSpPr/>
          <p:nvPr/>
        </p:nvGrpSpPr>
        <p:grpSpPr>
          <a:xfrm>
            <a:off x="995448" y="3565773"/>
            <a:ext cx="845769" cy="845769"/>
            <a:chOff x="662962" y="3705754"/>
            <a:chExt cx="845769" cy="845769"/>
          </a:xfrm>
        </p:grpSpPr>
        <p:sp>
          <p:nvSpPr>
            <p:cNvPr id="56" name="Oval 55"/>
            <p:cNvSpPr/>
            <p:nvPr/>
          </p:nvSpPr>
          <p:spPr>
            <a:xfrm>
              <a:off x="662962" y="3705754"/>
              <a:ext cx="845769" cy="845769"/>
            </a:xfrm>
            <a:prstGeom prst="ellipse">
              <a:avLst/>
            </a:prstGeom>
            <a:solidFill>
              <a:srgbClr val="FFFFFF"/>
            </a:solidFill>
            <a:ln w="762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kern="0" dirty="0">
                <a:solidFill>
                  <a:schemeClr val="tx1"/>
                </a:solidFill>
              </a:endParaRPr>
            </a:p>
          </p:txBody>
        </p:sp>
        <p:grpSp>
          <p:nvGrpSpPr>
            <p:cNvPr id="45" name="bcgIcons_QualityAssurance">
              <a:extLst>
                <a:ext uri="{FF2B5EF4-FFF2-40B4-BE49-F238E27FC236}">
                  <a16:creationId xmlns:a16="http://schemas.microsoft.com/office/drawing/2014/main" xmlns="" id="{F101FE1B-ABF1-4039-9673-6A08DD44414A}"/>
                </a:ext>
              </a:extLst>
            </p:cNvPr>
            <p:cNvGrpSpPr>
              <a:grpSpLocks noChangeAspect="1"/>
            </p:cNvGrpSpPr>
            <p:nvPr/>
          </p:nvGrpSpPr>
          <p:grpSpPr bwMode="auto">
            <a:xfrm>
              <a:off x="704935" y="3742218"/>
              <a:ext cx="761822" cy="762528"/>
              <a:chOff x="1682" y="0"/>
              <a:chExt cx="4316" cy="4320"/>
            </a:xfrm>
          </p:grpSpPr>
          <p:sp>
            <p:nvSpPr>
              <p:cNvPr id="46" name="AutoShape 8">
                <a:extLst>
                  <a:ext uri="{FF2B5EF4-FFF2-40B4-BE49-F238E27FC236}">
                    <a16:creationId xmlns:a16="http://schemas.microsoft.com/office/drawing/2014/main" xmlns=""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6">
                <a:extLst>
                  <a:ext uri="{FF2B5EF4-FFF2-40B4-BE49-F238E27FC236}">
                    <a16:creationId xmlns:a16="http://schemas.microsoft.com/office/drawing/2014/main" xmlns=""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7">
                <a:extLst>
                  <a:ext uri="{FF2B5EF4-FFF2-40B4-BE49-F238E27FC236}">
                    <a16:creationId xmlns:a16="http://schemas.microsoft.com/office/drawing/2014/main" xmlns=""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2" name="Group 61"/>
          <p:cNvGrpSpPr>
            <a:grpSpLocks noChangeAspect="1"/>
          </p:cNvGrpSpPr>
          <p:nvPr/>
        </p:nvGrpSpPr>
        <p:grpSpPr>
          <a:xfrm>
            <a:off x="5808247" y="1877257"/>
            <a:ext cx="306910" cy="306910"/>
            <a:chOff x="982662" y="1847850"/>
            <a:chExt cx="269875" cy="269875"/>
          </a:xfrm>
        </p:grpSpPr>
        <p:sp>
          <p:nvSpPr>
            <p:cNvPr id="6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5" name="Group 64"/>
          <p:cNvGrpSpPr>
            <a:grpSpLocks noChangeAspect="1"/>
          </p:cNvGrpSpPr>
          <p:nvPr/>
        </p:nvGrpSpPr>
        <p:grpSpPr>
          <a:xfrm>
            <a:off x="5808247" y="2853753"/>
            <a:ext cx="306910" cy="306910"/>
            <a:chOff x="982662" y="1847850"/>
            <a:chExt cx="269875" cy="269875"/>
          </a:xfrm>
        </p:grpSpPr>
        <p:sp>
          <p:nvSpPr>
            <p:cNvPr id="6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8" name="Group 67"/>
          <p:cNvGrpSpPr>
            <a:grpSpLocks noChangeAspect="1"/>
          </p:cNvGrpSpPr>
          <p:nvPr/>
        </p:nvGrpSpPr>
        <p:grpSpPr>
          <a:xfrm>
            <a:off x="5808247" y="3867433"/>
            <a:ext cx="306910" cy="306910"/>
            <a:chOff x="982662" y="1847850"/>
            <a:chExt cx="269875" cy="269875"/>
          </a:xfrm>
        </p:grpSpPr>
        <p:sp>
          <p:nvSpPr>
            <p:cNvPr id="6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1" name="Group 70"/>
          <p:cNvGrpSpPr>
            <a:grpSpLocks noChangeAspect="1"/>
          </p:cNvGrpSpPr>
          <p:nvPr/>
        </p:nvGrpSpPr>
        <p:grpSpPr>
          <a:xfrm>
            <a:off x="5808247" y="4888114"/>
            <a:ext cx="306910" cy="306910"/>
            <a:chOff x="982662" y="1847850"/>
            <a:chExt cx="269875" cy="269875"/>
          </a:xfrm>
        </p:grpSpPr>
        <p:sp>
          <p:nvSpPr>
            <p:cNvPr id="72"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3"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4" name="Group 73"/>
          <p:cNvGrpSpPr>
            <a:grpSpLocks noChangeAspect="1"/>
          </p:cNvGrpSpPr>
          <p:nvPr/>
        </p:nvGrpSpPr>
        <p:grpSpPr>
          <a:xfrm>
            <a:off x="5808247" y="5939189"/>
            <a:ext cx="306910" cy="306910"/>
            <a:chOff x="982662" y="1847850"/>
            <a:chExt cx="269875" cy="269875"/>
          </a:xfrm>
        </p:grpSpPr>
        <p:sp>
          <p:nvSpPr>
            <p:cNvPr id="75"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77" name="TextBox 76"/>
          <p:cNvSpPr txBox="1"/>
          <p:nvPr/>
        </p:nvSpPr>
        <p:spPr>
          <a:xfrm>
            <a:off x="6520302" y="3603797"/>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err="1">
                <a:solidFill>
                  <a:srgbClr val="7F7F7F"/>
                </a:solidFill>
              </a:rPr>
              <a:t>Config</a:t>
            </a:r>
            <a:r>
              <a:rPr lang="en-US" sz="1600" dirty="0">
                <a:solidFill>
                  <a:srgbClr val="7F7F7F"/>
                </a:solidFill>
              </a:rPr>
              <a:t> – immutable parameters</a:t>
            </a:r>
          </a:p>
          <a:p>
            <a:r>
              <a:rPr lang="en-US" sz="1600" dirty="0" err="1">
                <a:solidFill>
                  <a:srgbClr val="7F7F7F"/>
                </a:solidFill>
              </a:rPr>
              <a:t>ConfigHandler</a:t>
            </a:r>
            <a:r>
              <a:rPr lang="en-US" sz="1600" dirty="0">
                <a:solidFill>
                  <a:srgbClr val="7F7F7F"/>
                </a:solidFill>
              </a:rPr>
              <a:t> – unicity of key objects (singleton)</a:t>
            </a:r>
          </a:p>
          <a:p>
            <a:r>
              <a:rPr lang="en-US" sz="1600" dirty="0">
                <a:solidFill>
                  <a:srgbClr val="7F7F7F"/>
                </a:solidFill>
              </a:rPr>
              <a:t>Tests</a:t>
            </a:r>
          </a:p>
          <a:p>
            <a:r>
              <a:rPr lang="en-US" sz="1600" dirty="0">
                <a:solidFill>
                  <a:srgbClr val="7F7F7F"/>
                </a:solidFill>
              </a:rPr>
              <a:t>Continuous Integration (CI) </a:t>
            </a:r>
          </a:p>
        </p:txBody>
      </p:sp>
      <p:sp>
        <p:nvSpPr>
          <p:cNvPr id="78" name="TextBox 77"/>
          <p:cNvSpPr txBox="1"/>
          <p:nvPr/>
        </p:nvSpPr>
        <p:spPr>
          <a:xfrm>
            <a:off x="6497696" y="5662430"/>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Docker, Sphinx documentation</a:t>
            </a:r>
          </a:p>
        </p:txBody>
      </p:sp>
      <p:sp>
        <p:nvSpPr>
          <p:cNvPr id="79" name="TextBox 78"/>
          <p:cNvSpPr txBox="1"/>
          <p:nvPr/>
        </p:nvSpPr>
        <p:spPr>
          <a:xfrm>
            <a:off x="6524874" y="4731323"/>
            <a:ext cx="4970984"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Scenarios – code versioning (commit hash is kept…)</a:t>
            </a:r>
          </a:p>
          <a:p>
            <a:r>
              <a:rPr lang="en-US" sz="1600" dirty="0">
                <a:solidFill>
                  <a:srgbClr val="7F7F7F"/>
                </a:solidFill>
              </a:rPr>
              <a:t>Decorators – reproducible actions all along the code</a:t>
            </a:r>
          </a:p>
          <a:p>
            <a:r>
              <a:rPr lang="en-US" sz="1600" dirty="0">
                <a:solidFill>
                  <a:srgbClr val="7F7F7F"/>
                </a:solidFill>
              </a:rPr>
              <a:t>Context manager – guarantee enter() and exit() for       	              specific objects</a:t>
            </a:r>
          </a:p>
        </p:txBody>
      </p:sp>
      <p:sp>
        <p:nvSpPr>
          <p:cNvPr id="80" name="TextBox 79"/>
          <p:cNvSpPr txBox="1"/>
          <p:nvPr/>
        </p:nvSpPr>
        <p:spPr>
          <a:xfrm>
            <a:off x="6524874" y="2546204"/>
            <a:ext cx="5025340" cy="800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7F7F7F"/>
                </a:solidFill>
              </a:rPr>
              <a:t>Pipeline – sequentiality &amp; loose coupling</a:t>
            </a:r>
          </a:p>
          <a:p>
            <a:r>
              <a:rPr lang="en-US" sz="1600" dirty="0">
                <a:solidFill>
                  <a:srgbClr val="7F7F7F"/>
                </a:solidFill>
              </a:rPr>
              <a:t>Model Factory – homogeneity between ML models</a:t>
            </a:r>
          </a:p>
        </p:txBody>
      </p:sp>
    </p:spTree>
    <p:custDataLst>
      <p:tags r:id="rId2"/>
    </p:custDataLst>
    <p:extLst>
      <p:ext uri="{BB962C8B-B14F-4D97-AF65-F5344CB8AC3E}">
        <p14:creationId xmlns:p14="http://schemas.microsoft.com/office/powerpoint/2010/main" val="3411401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D. Two-Thirds&quot; id=&quot;227_1-8&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16&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1&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quot; allowedTimeFormatIds=&quot;1|2|3&quot; slideLayout=&quot;11&quot; customLayoutName=&quot;D. Green one third|Documentation¦D. Green one third&quot; customLayoutIndex=&quot;&quot; showBreak=&quot;0&quot; singleAgendaSlideSelected=&quot;1&quot; backupSlideTitle=&quot;Unused Slides&quot; topMargin=&quot;0.5&quot; leftMargin=&quot;0&quot; allowedLevels=&quot;2&quot; itemNoFormats=&quot;{1}¦{1}.{2}¦{3:alphaLC}¦{3:alphaLC}.{4:alphaLC}&quot; customLayoutNameBackup=&quot;D. Special gray|Documentation¦D. Special gray&quot; titlePrompt=&quot;Insert Title&quot; /&gt;&lt;cases&gt;&lt;!-- Single --&gt;&lt;case level=&quot;1&quot; single=&quot;1&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0.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16&quot; fontSizeAuto=&quot;1&quot; startTime=&quot;540&quot; timeFormatId=&quot;1&quot; startItemNo=&quot;1&quot; createSingleAgendaSlide=&quot;1&quot; createSeparatingSlides=&quot;1&quot; createBackupSlide=&quot;0&quot; layoutId=&quot;227_1-8&quot; createSections=&quot;0&quot; singleSlideId=&quot;f7e3a6be-4825-4a46-b4a5-efe79fa64d98&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39.706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f7fa1a98-4595-405c-a819-2493bf0cd63d&quot; parentId=&quot;&quot; level=&quot;1&quot; generateAgendaSlide=&quot;1&quot; showAgendaItem=&quot;1&quot; isBreak=&quot;0&quot; topic=&quot;Use Cases Exercises (Reminder)&quot; agendaSlideId=&quot;f6933c2f-d745-4e9f-ad4e-ff467808915c&quot; /&gt;&lt;item duration=&quot;30&quot; id=&quot;60e25ba2-7ebf-4c8f-a0e3-bf61f7bdb9e0&quot; parentId=&quot;&quot; level=&quot;1&quot; generateAgendaSlide=&quot;1&quot; showAgendaItem=&quot;1&quot; isBreak=&quot;0&quot; topic=&quot;OOP Fundamentals&quot; agendaSlideId=&quot;0c4c8452-9604-4a6a-87e7-6f3f79326d0d&quot; /&gt;&lt;item duration=&quot;30&quot; id=&quot;417673a7-8c87-4a79-910d-8e3444662ccd&quot; parentId=&quot;60e25ba2-7ebf-4c8f-a0e3-bf61f7bdb9e0&quot; level=&quot;2&quot; generateAgendaSlide=&quot;1&quot; showAgendaItem=&quot;1&quot; isBreak=&quot;0&quot; topic=&quot;Class, Objects and Methods&quot; agendaSlideId=&quot;a4d17ebb-22d3-4fab-bf02-192179289483&quot; /&gt;&lt;item duration=&quot;30&quot; id=&quot;8175c060-382e-49ae-a10d-1ed4b2bf998a&quot; parentId=&quot;60e25ba2-7ebf-4c8f-a0e3-bf61f7bdb9e0&quot; level=&quot;2&quot; generateAgendaSlide=&quot;1&quot; showAgendaItem=&quot;1&quot; isBreak=&quot;0&quot; topic=&quot;Property&quot; agendaSlideId=&quot;6de99f00-1c7d-498e-a17e-17e6a8d2d6ea&quot; /&gt;&lt;item duration=&quot;30&quot; id=&quot;13aaedbc-806d-4b0c-bba1-75b0f83bb51e&quot; parentId=&quot;60e25ba2-7ebf-4c8f-a0e3-bf61f7bdb9e0&quot; level=&quot;2&quot; generateAgendaSlide=&quot;1&quot; showAgendaItem=&quot;1&quot; isBreak=&quot;0&quot; topic=&quot;Data Encapsulation, Inheritance &amp;amp; Polymorphism&quot; agendaSlideId=&quot;fafd36da-7120-4cb4-a1cc-ebe54466f0df&quot; /&gt;&lt;item duration=&quot;30&quot; id=&quot;6dd96912-eb04-471a-aa89-70184da265f1&quot; parentId=&quot;60e25ba2-7ebf-4c8f-a0e3-bf61f7bdb9e0&quot; level=&quot;2&quot; generateAgendaSlide=&quot;1&quot; showAgendaItem=&quot;1&quot; isBreak=&quot;0&quot; topic=&quot;Built-in functions&quot; agendaSlideId=&quot;05c3ea13-7c42-4e2b-aba1-cc7356eff377&quot; /&gt;&lt;item duration=&quot;30&quot; id=&quot;c8882317-fb63-458f-900d-e596b991cfa8&quot; parentId=&quot;&quot; level=&quot;1&quot; generateAgendaSlide=&quot;1&quot; showAgendaItem=&quot;1&quot; isBreak=&quot;0&quot; topic=&quot;Tests&quot; agendaSlideId=&quot;f83fc545-1c3c-4e2f-b1a1-3093b7effab3&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01.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04.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07.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i2tV6PWQQSnzE5P.3rGM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poN9q7bTTeU2C6SH_cMWA"/>
</p:tagLst>
</file>

<file path=ppt/tags/tag114.xml><?xml version="1.0" encoding="utf-8"?>
<p:tagLst xmlns:a="http://schemas.openxmlformats.org/drawingml/2006/main" xmlns:r="http://schemas.openxmlformats.org/officeDocument/2006/relationships" xmlns:p="http://schemas.openxmlformats.org/presentationml/2006/main">
  <p:tag name="EE4P_SLIDEID" val="6de99f00-1c7d-498e-a17e-17e6a8d2d6ea"/>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Topic"/>
  <p:tag name="EE4P_AGENDAWIZARD_CONTENT" val="/Tests"/>
  <p:tag name="EE4P_AGENDAWIZARD_PROPERTIES" val="406.8057/327.9088/263.9882/19.70559"/>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Topic"/>
  <p:tag name="EE4P_AGENDAWIZARD_CONTENT" val="/Built-in functions"/>
  <p:tag name="EE4P_AGENDAWIZARD_PROPERTIES" val="406.8057/302.6308/263.9882/14.77795"/>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Topic"/>
  <p:tag name="EE4P_AGENDAWIZARD_CONTENT" val="/Data Encapsulation, Inheritance &amp; Polymorphism"/>
  <p:tag name="EE4P_AGENDAWIZARD_PROPERTIES" val="406.8057/283.8528/263.9882/14.77795"/>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Element"/>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Elemen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Topic"/>
  <p:tag name="EE4P_AGENDAWIZARD_CONTENT" val="/Property"/>
  <p:tag name="EE4P_AGENDAWIZARD_PROPERTIES" val="406.8057/265.0749/263.9882/14.77795"/>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Topic"/>
  <p:tag name="EE4P_AGENDAWIZARD_CONTENT" val="/Class, Objects and Methods"/>
  <p:tag name="EE4P_AGENDAWIZARD_PROPERTIES" val="406.8057/246.2969/263.9882/14.77795"/>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Topic"/>
  <p:tag name="EE4P_AGENDAWIZARD_CONTENT" val="/OOP Fundamentals"/>
  <p:tag name="EE4P_AGENDAWIZARD_PROPERTIES" val="406.8057/222.5913/263.9882/19.70559"/>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Topic"/>
  <p:tag name="EE4P_AGENDAWIZARD_CONTENT" val="/Use Cases Exercises (Reminder)"/>
  <p:tag name="EE4P_AGENDAWIZARD_PROPERTIES" val="406.8057/192.3857/263.9882/19.70559"/>
</p:tagLst>
</file>

<file path=ppt/tags/tag1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5.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28.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31.xml><?xml version="1.0" encoding="utf-8"?>
<p:tagLst xmlns:a="http://schemas.openxmlformats.org/drawingml/2006/main" xmlns:r="http://schemas.openxmlformats.org/officeDocument/2006/relationships" xmlns:p="http://schemas.openxmlformats.org/presentationml/2006/main">
  <p:tag name="EE4P_SLIDEID" val="fafd36da-7120-4cb4-a1cc-ebe54466f0df"/>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Topic"/>
  <p:tag name="EE4P_AGENDAWIZARD_CONTENT" val="/Tests"/>
  <p:tag name="EE4P_AGENDAWIZARD_PROPERTIES" val="406.8057/327.9088/263.9882/19.70559"/>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Topic"/>
  <p:tag name="EE4P_AGENDAWIZARD_CONTENT" val="/Built-in functions"/>
  <p:tag name="EE4P_AGENDAWIZARD_PROPERTIES" val="406.8057/302.6308/263.9882/14.77795"/>
</p:tagLst>
</file>

<file path=ppt/tags/tag134.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Element"/>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Element"/>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Topic"/>
  <p:tag name="EE4P_AGENDAWIZARD_CONTENT" val="/Data Encapsulation, Inheritance &amp; Polymorphism"/>
  <p:tag name="EE4P_AGENDAWIZARD_PROPERTIES" val="406.8057/283.8528/263.9882/14.77795"/>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Topic"/>
  <p:tag name="EE4P_AGENDAWIZARD_CONTENT" val="/Property"/>
  <p:tag name="EE4P_AGENDAWIZARD_PROPERTIES" val="406.8057/265.0749/263.9882/14.77795"/>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Topic"/>
  <p:tag name="EE4P_AGENDAWIZARD_CONTENT" val="/Class, Objects and Methods"/>
  <p:tag name="EE4P_AGENDAWIZARD_PROPERTIES" val="406.8057/246.2969/263.9882/14.77795"/>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Topic"/>
  <p:tag name="EE4P_AGENDAWIZARD_CONTENT" val="/OOP Fundamentals"/>
  <p:tag name="EE4P_AGENDAWIZARD_PROPERTIES" val="406.8057/222.5913/263.9882/19.70559"/>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Topic"/>
  <p:tag name="EE4P_AGENDAWIZARD_CONTENT" val="/Use Cases Exercises (Reminder)"/>
  <p:tag name="EE4P_AGENDAWIZARD_PROPERTIES" val="406.8057/192.3857/263.9882/19.70559"/>
</p:tagLst>
</file>

<file path=ppt/tags/tag14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2.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45.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48.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151.xml><?xml version="1.0" encoding="utf-8"?>
<p:tagLst xmlns:a="http://schemas.openxmlformats.org/drawingml/2006/main" xmlns:r="http://schemas.openxmlformats.org/officeDocument/2006/relationships" xmlns:p="http://schemas.openxmlformats.org/presentationml/2006/main">
  <p:tag name="EE4P_SLIDEID" val="05c3ea13-7c42-4e2b-aba1-cc7356eff377"/>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Topic"/>
  <p:tag name="EE4P_AGENDAWIZARD_CONTENT" val="/Tests"/>
  <p:tag name="EE4P_AGENDAWIZARD_PROPERTIES" val="406.8057/327.9088/263.9882/19.70559"/>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Element"/>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Element"/>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Topic"/>
  <p:tag name="EE4P_AGENDAWIZARD_CONTENT" val="/Built-in functions"/>
  <p:tag name="EE4P_AGENDAWIZARD_PROPERTIES" val="406.8057/302.6308/263.9882/14.77795"/>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Topic"/>
  <p:tag name="EE4P_AGENDAWIZARD_CONTENT" val="/Data Encapsulation, Inheritance &amp; Polymorphism"/>
  <p:tag name="EE4P_AGENDAWIZARD_PROPERTIES" val="406.8057/283.8528/263.9882/14.77795"/>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Topic"/>
  <p:tag name="EE4P_AGENDAWIZARD_CONTENT" val="/Property"/>
  <p:tag name="EE4P_AGENDAWIZARD_PROPERTIES" val="406.8057/265.0749/263.9882/14.77795"/>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Topic"/>
  <p:tag name="EE4P_AGENDAWIZARD_CONTENT" val="/Class, Objects and Methods"/>
  <p:tag name="EE4P_AGENDAWIZARD_PROPERTIES" val="406.8057/246.2969/263.9882/14.77795"/>
</p:tagLst>
</file>

<file path=ppt/tags/tag159.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Topic"/>
  <p:tag name="EE4P_AGENDAWIZARD_CONTENT" val="/OOP Fundamentals"/>
  <p:tag name="EE4P_AGENDAWIZARD_PROPERTIES" val="406.8057/222.5913/263.9882/19.70559"/>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Topic"/>
  <p:tag name="EE4P_AGENDAWIZARD_CONTENT" val="/Use Cases Exercises (Reminder)"/>
  <p:tag name="EE4P_AGENDAWIZARD_PROPERTIES" val="406.8057/192.3857/263.9882/19.70559"/>
</p:tagLst>
</file>

<file path=ppt/tags/tag1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6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68dte5YsROudaeQN0Th24A"/>
</p:tagLst>
</file>

<file path=ppt/tags/tag16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68dte5YsROudaeQN0Th24A"/>
</p:tagLst>
</file>

<file path=ppt/tags/tag168.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171.xml><?xml version="1.0" encoding="utf-8"?>
<p:tagLst xmlns:a="http://schemas.openxmlformats.org/drawingml/2006/main" xmlns:r="http://schemas.openxmlformats.org/officeDocument/2006/relationships" xmlns:p="http://schemas.openxmlformats.org/presentationml/2006/main">
  <p:tag name="EE4P_SLIDEID" val="f83fc545-1c3c-4e2f-b1a1-3093b7effab3"/>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Element"/>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Element"/>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Topic"/>
  <p:tag name="EE4P_AGENDAWIZARD_CONTENT" val="/Tests"/>
  <p:tag name="EE4P_AGENDAWIZARD_PROPERTIES" val="406.8057/327.9088/263.9882/19.70559"/>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Topic"/>
  <p:tag name="EE4P_AGENDAWIZARD_CONTENT" val="/Built-in functions"/>
  <p:tag name="EE4P_AGENDAWIZARD_PROPERTIES" val="406.8057/302.6308/263.9882/14.77795"/>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Topic"/>
  <p:tag name="EE4P_AGENDAWIZARD_CONTENT" val="/Data Encapsulation, Inheritance &amp; Polymorphism"/>
  <p:tag name="EE4P_AGENDAWIZARD_PROPERTIES" val="406.8057/283.8528/263.9882/14.77795"/>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Topic"/>
  <p:tag name="EE4P_AGENDAWIZARD_CONTENT" val="/Property"/>
  <p:tag name="EE4P_AGENDAWIZARD_PROPERTIES" val="406.8057/265.0749/263.9882/14.77795"/>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Topic"/>
  <p:tag name="EE4P_AGENDAWIZARD_CONTENT" val="/Class, Objects and Methods"/>
  <p:tag name="EE4P_AGENDAWIZARD_PROPERTIES" val="406.8057/246.2969/263.9882/14.77795"/>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Topic"/>
  <p:tag name="EE4P_AGENDAWIZARD_CONTENT" val="/OOP Fundamentals"/>
  <p:tag name="EE4P_AGENDAWIZARD_PROPERTIES" val="406.8057/222.5913/263.9882/19.70559"/>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Topic"/>
  <p:tag name="EE4P_AGENDAWIZARD_CONTENT" val="/Use Cases Exercises (Reminder)"/>
  <p:tag name="EE4P_AGENDAWIZARD_PROPERTIES" val="406.8057/192.3857/263.9882/19.70559"/>
</p:tagLst>
</file>

<file path=ppt/tags/tag18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8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WPOl98rRJ.eZbefiMQr7A"/>
</p:tagLst>
</file>

<file path=ppt/tags/tag18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G6t9z0ixQ56IU_v2KA2O2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0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01.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204.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207.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ZCo.suyWeZFcmMnZGXn5A"/>
</p:tagLst>
</file>

<file path=ppt/tags/tag34.xml><?xml version="1.0" encoding="utf-8"?>
<p:tagLst xmlns:a="http://schemas.openxmlformats.org/drawingml/2006/main" xmlns:r="http://schemas.openxmlformats.org/officeDocument/2006/relationships" xmlns:p="http://schemas.openxmlformats.org/presentationml/2006/main">
  <p:tag name="EE4P_SLIDEID" val="f7e3a6be-4825-4a46-b4a5-efe79fa64d98"/>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Topic"/>
  <p:tag name="EE4P_AGENDAWIZARD_CONTENT" val="/Tests"/>
  <p:tag name="EE4P_AGENDAWIZARD_PROPERTIES" val="406.8057/327.9088/263.9882/19.70559"/>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Topic"/>
  <p:tag name="EE4P_AGENDAWIZARD_CONTENT" val="/Built-in functions"/>
  <p:tag name="EE4P_AGENDAWIZARD_PROPERTIES" val="406.8057/302.6308/263.9882/14.77795"/>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Topic"/>
  <p:tag name="EE4P_AGENDAWIZARD_CONTENT" val="/Data Encapsulation, Inheritance &amp; Polymorphism"/>
  <p:tag name="EE4P_AGENDAWIZARD_PROPERTIES" val="406.8057/283.8528/263.9882/14.77795"/>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Topic"/>
  <p:tag name="EE4P_AGENDAWIZARD_CONTENT" val="/Property"/>
  <p:tag name="EE4P_AGENDAWIZARD_PROPERTIES" val="406.8057/265.0749/263.9882/14.77795"/>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Topic"/>
  <p:tag name="EE4P_AGENDAWIZARD_CONTENT" val="/Class, Objects and Methods"/>
  <p:tag name="EE4P_AGENDAWIZARD_PROPERTIES" val="406.8057/246.2969/263.9882/14.7779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Topic"/>
  <p:tag name="EE4P_AGENDAWIZARD_CONTENT" val="/OOP Fundamentals"/>
  <p:tag name="EE4P_AGENDAWIZARD_PROPERTIES" val="406.8057/222.5913/263.9882/19.70559"/>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Topic"/>
  <p:tag name="EE4P_AGENDAWIZARD_CONTENT" val="/Use Cases Exercises (Reminder)"/>
  <p:tag name="EE4P_AGENDAWIZARD_PROPERTIES" val="406.8057/192.3857/263.9882/19.70559"/>
</p:tagLst>
</file>

<file path=ppt/tags/tag4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SLIDEID" val="f6933c2f-d745-4e9f-ad4e-ff467808915c"/>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Topic"/>
  <p:tag name="EE4P_AGENDAWIZARD_CONTENT" val="/Tests"/>
  <p:tag name="EE4P_AGENDAWIZARD_PROPERTIES" val="406.8057/327.9088/263.9882/19.70559"/>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Topic"/>
  <p:tag name="EE4P_AGENDAWIZARD_CONTENT" val="/Built-in functions"/>
  <p:tag name="EE4P_AGENDAWIZARD_PROPERTIES" val="406.8057/302.6308/263.9882/14.77795"/>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Topic"/>
  <p:tag name="EE4P_AGENDAWIZARD_CONTENT" val="/Data Encapsulation, Inheritance &amp; Polymorphism"/>
  <p:tag name="EE4P_AGENDAWIZARD_PROPERTIES" val="406.8057/283.8528/263.9882/14.77795"/>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Topic"/>
  <p:tag name="EE4P_AGENDAWIZARD_CONTENT" val="/Property"/>
  <p:tag name="EE4P_AGENDAWIZARD_PROPERTIES" val="406.8057/265.0749/263.9882/14.77795"/>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Topic"/>
  <p:tag name="EE4P_AGENDAWIZARD_CONTENT" val="/Class, Objects and Methods"/>
  <p:tag name="EE4P_AGENDAWIZARD_PROPERTIES" val="406.8057/246.2969/263.9882/14.77795"/>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Topic"/>
  <p:tag name="EE4P_AGENDAWIZARD_CONTENT" val="/OOP Fundamentals"/>
  <p:tag name="EE4P_AGENDAWIZARD_PROPERTIES" val="406.8057/222.5913/263.9882/19.70559"/>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Element"/>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Element"/>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Topic"/>
  <p:tag name="EE4P_AGENDAWIZARD_CONTENT" val="/Use Cases Exercises (Reminder)"/>
  <p:tag name="EE4P_AGENDAWIZARD_PROPERTIES" val="406.8057/192.3857/263.9882/19.70559"/>
</p:tagLst>
</file>

<file path=ppt/tags/tag5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J.tOjHcIku1l6KGr3mJeA"/>
</p:tagLst>
</file>

<file path=ppt/tags/tag59.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26bB2cvnLoppQHDpuqoI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So7eZp7Ml1WnEM7d5UAaQ"/>
</p:tagLst>
</file>

<file path=ppt/tags/tag64.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7OVn_cpnIzYv7xcE6AhMqQ"/>
</p:tagLst>
</file>

<file path=ppt/tags/tag67.xml><?xml version="1.0" encoding="utf-8"?>
<p:tagLst xmlns:a="http://schemas.openxmlformats.org/drawingml/2006/main" xmlns:r="http://schemas.openxmlformats.org/officeDocument/2006/relationships" xmlns:p="http://schemas.openxmlformats.org/presentationml/2006/main">
  <p:tag name="BCG_MODE" val="Presentation"/>
  <p:tag name="BCG_DESIGN" val="White one third"/>
  <p:tag name="EE4P_LAYOUT_ID" val="K"/>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8k9b4hhhk490xhuPg7ACIg"/>
</p:tagLst>
</file>

<file path=ppt/tags/tag72.xml><?xml version="1.0" encoding="utf-8"?>
<p:tagLst xmlns:a="http://schemas.openxmlformats.org/drawingml/2006/main" xmlns:r="http://schemas.openxmlformats.org/officeDocument/2006/relationships" xmlns:p="http://schemas.openxmlformats.org/presentationml/2006/main">
  <p:tag name="EE4P_SLIDEID" val="0c4c8452-9604-4a6a-87e7-6f3f79326d0d"/>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Topic"/>
  <p:tag name="EE4P_AGENDAWIZARD_CONTENT" val="/Tests"/>
  <p:tag name="EE4P_AGENDAWIZARD_PROPERTIES" val="406.8057/327.9088/263.9882/19.70559"/>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Topic"/>
  <p:tag name="EE4P_AGENDAWIZARD_CONTENT" val="/Built-in functions"/>
  <p:tag name="EE4P_AGENDAWIZARD_PROPERTIES" val="406.8057/302.6308/263.9882/14.77795"/>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Topic"/>
  <p:tag name="EE4P_AGENDAWIZARD_CONTENT" val="/Data Encapsulation, Inheritance &amp; Polymorphism"/>
  <p:tag name="EE4P_AGENDAWIZARD_PROPERTIES" val="406.8057/283.8528/263.9882/14.77795"/>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Topic"/>
  <p:tag name="EE4P_AGENDAWIZARD_CONTENT" val="/Property"/>
  <p:tag name="EE4P_AGENDAWIZARD_PROPERTIES" val="406.8057/265.0749/263.9882/14.77795"/>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Topic"/>
  <p:tag name="EE4P_AGENDAWIZARD_CONTENT" val="/Class, Objects and Methods"/>
  <p:tag name="EE4P_AGENDAWIZARD_PROPERTIES" val="406.8057/246.2969/263.9882/14.77795"/>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Element"/>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Elemen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Topic"/>
  <p:tag name="EE4P_AGENDAWIZARD_CONTENT" val="/OOP Fundamentals"/>
  <p:tag name="EE4P_AGENDAWIZARD_PROPERTIES" val="406.8057/222.5913/263.9882/19.70559"/>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Topic"/>
  <p:tag name="EE4P_AGENDAWIZARD_CONTENT" val="/Use Cases Exercises (Reminder)"/>
  <p:tag name="EE4P_AGENDAWIZARD_PROPERTIES" val="406.8057/192.3857/263.9882/19.70559"/>
</p:tagLst>
</file>

<file path=ppt/tags/tag8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SLIDEID" val="a4d17ebb-22d3-4fab-bf02-192179289483"/>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f83fc545-1c3c-4e2f-b1a1-3093b7effab3_Topic"/>
  <p:tag name="EE4P_AGENDAWIZARD_CONTENT" val="/Tests"/>
  <p:tag name="EE4P_AGENDAWIZARD_PROPERTIES" val="406.8057/327.9088/263.9882/19.70559"/>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05c3ea13-7c42-4e2b-aba1-cc7356eff377_Topic"/>
  <p:tag name="EE4P_AGENDAWIZARD_CONTENT" val="/Built-in functions"/>
  <p:tag name="EE4P_AGENDAWIZARD_PROPERTIES" val="406.8057/302.6308/263.9882/14.77795"/>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fafd36da-7120-4cb4-a1cc-ebe54466f0df_Topic"/>
  <p:tag name="EE4P_AGENDAWIZARD_CONTENT" val="/Data Encapsulation, Inheritance &amp; Polymorphism"/>
  <p:tag name="EE4P_AGENDAWIZARD_PROPERTIES" val="406.8057/283.8528/263.9882/14.77795"/>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6de99f00-1c7d-498e-a17e-17e6a8d2d6ea_Topic"/>
  <p:tag name="EE4P_AGENDAWIZARD_CONTENT" val="/Property"/>
  <p:tag name="EE4P_AGENDAWIZARD_PROPERTIES" val="406.8057/265.0749/263.9882/14.77795"/>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Elemen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Element"/>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a4d17ebb-22d3-4fab-bf02-192179289483_Topic"/>
  <p:tag name="EE4P_AGENDAWIZARD_CONTENT" val="/Class, Objects and Methods"/>
  <p:tag name="EE4P_AGENDAWIZARD_PROPERTIES" val="406.8057/246.2969/263.9882/14.77795"/>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0c4c8452-9604-4a6a-87e7-6f3f79326d0d_Topic"/>
  <p:tag name="EE4P_AGENDAWIZARD_CONTENT" val="/OOP Fundamentals"/>
  <p:tag name="EE4P_AGENDAWIZARD_PROPERTIES" val="406.8057/222.5913/263.9882/19.70559"/>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f6933c2f-d745-4e9f-ad4e-ff467808915c_Topic"/>
  <p:tag name="EE4P_AGENDAWIZARD_CONTENT" val="/Use Cases Exercises (Reminder)"/>
  <p:tag name="EE4P_AGENDAWIZARD_PROPERTIES" val="406.8057/192.3857/263.9882/19.70559"/>
</p:tagLst>
</file>

<file path=ppt/tags/tag9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5.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0aM36CWRI..pVKlogVBZA"/>
</p:tagLst>
</file>

<file path=ppt/tags/tag98.xml><?xml version="1.0" encoding="utf-8"?>
<p:tagLst xmlns:a="http://schemas.openxmlformats.org/drawingml/2006/main" xmlns:r="http://schemas.openxmlformats.org/officeDocument/2006/relationships" xmlns:p="http://schemas.openxmlformats.org/presentationml/2006/main">
  <p:tag name="BCG_MODE" val="Documentation"/>
  <p:tag name="BCG_DESIGN" val="Green one third"/>
  <p:tag name="EE4P_LAYOUT_ID" val="D"/>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641</TotalTime>
  <Words>1991</Words>
  <Application>Microsoft Office PowerPoint</Application>
  <PresentationFormat>Widescreen</PresentationFormat>
  <Paragraphs>687</Paragraphs>
  <Slides>38</Slides>
  <Notes>28</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8</vt:i4>
      </vt:variant>
      <vt:variant>
        <vt:lpstr>Custom Shows</vt:lpstr>
      </vt:variant>
      <vt:variant>
        <vt:i4>1</vt:i4>
      </vt:variant>
    </vt:vector>
  </HeadingPairs>
  <TitlesOfParts>
    <vt:vector size="45" baseType="lpstr">
      <vt:lpstr>Arial</vt:lpstr>
      <vt:lpstr>Consolas</vt:lpstr>
      <vt:lpstr>DejaVu Sans</vt:lpstr>
      <vt:lpstr>Trebuchet MS</vt:lpstr>
      <vt:lpstr>BCG Grid 16:9</vt:lpstr>
      <vt:lpstr>think-cell Slide</vt:lpstr>
      <vt:lpstr>Use Case 1</vt:lpstr>
      <vt:lpstr>Agenda</vt:lpstr>
      <vt:lpstr>Agenda</vt:lpstr>
      <vt:lpstr>Python environment (Reminder)</vt:lpstr>
      <vt:lpstr>Use Cases Exercises (Reminder)</vt:lpstr>
      <vt:lpstr>Demand Forecast Module, a representative Gamma Project</vt:lpstr>
      <vt:lpstr>Exercise 1.1 Brainstorming Branch origin/training/ex-basics </vt:lpstr>
      <vt:lpstr>PowerPoint Presentation</vt:lpstr>
      <vt:lpstr>Brainstorming Session review</vt:lpstr>
      <vt:lpstr>Agenda</vt:lpstr>
      <vt:lpstr>Agenda</vt:lpstr>
      <vt:lpstr>Class and Objects</vt:lpstr>
      <vt:lpstr>Constructors</vt:lpstr>
      <vt:lpstr>Instance Methods</vt:lpstr>
      <vt:lpstr>Class Methods</vt:lpstr>
      <vt:lpstr>Static Methods</vt:lpstr>
      <vt:lpstr>Context Managers</vt:lpstr>
      <vt:lpstr>Context manager to safely close connection</vt:lpstr>
      <vt:lpstr>Agenda</vt:lpstr>
      <vt:lpstr>Python property decorator</vt:lpstr>
      <vt:lpstr>Python property setter</vt:lpstr>
      <vt:lpstr>Agenda</vt:lpstr>
      <vt:lpstr>Encapsulation</vt:lpstr>
      <vt:lpstr>Inheritance</vt:lpstr>
      <vt:lpstr>Polymorphism</vt:lpstr>
      <vt:lpstr>Agenda</vt:lpstr>
      <vt:lpstr>Built-in functions for OOP</vt:lpstr>
      <vt:lpstr>Built-in functions for OOP</vt:lpstr>
      <vt:lpstr>Exercise 1.2 Implement a class Branch origin/training/ex-class-df </vt:lpstr>
      <vt:lpstr>Agenda</vt:lpstr>
      <vt:lpstr>Tests should cover each step of the production process</vt:lpstr>
      <vt:lpstr>Three main type of tests can be implemented</vt:lpstr>
      <vt:lpstr>PowerPoint Presentation</vt:lpstr>
      <vt:lpstr>Pytest (I)</vt:lpstr>
      <vt:lpstr>PowerPoint Presentation</vt:lpstr>
      <vt:lpstr>Exercise 1.3 Implement an e2e test Branch origin/training/ex-e2e </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dc:title>
  <dc:creator>Sorin Eloise</dc:creator>
  <cp:lastModifiedBy>Veillon, Louis</cp:lastModifiedBy>
  <cp:revision>52</cp:revision>
  <cp:lastPrinted>2016-04-06T18:59:25Z</cp:lastPrinted>
  <dcterms:created xsi:type="dcterms:W3CDTF">2019-12-18T12:41:17Z</dcterms:created>
  <dcterms:modified xsi:type="dcterms:W3CDTF">2020-06-15T14:5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